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omments/modernComment_7FFFD7F9_75C10BFA.xml" ContentType="application/vnd.ms-powerpoint.comment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autoCompressPictures="0">
  <p:sldMasterIdLst>
    <p:sldMasterId id="2147483717" r:id="rId5"/>
    <p:sldMasterId id="2147483745" r:id="rId6"/>
  </p:sldMasterIdLst>
  <p:notesMasterIdLst>
    <p:notesMasterId r:id="rId25"/>
  </p:notesMasterIdLst>
  <p:handoutMasterIdLst>
    <p:handoutMasterId r:id="rId26"/>
  </p:handoutMasterIdLst>
  <p:sldIdLst>
    <p:sldId id="1079" r:id="rId7"/>
    <p:sldId id="2147473091" r:id="rId8"/>
    <p:sldId id="1080" r:id="rId9"/>
    <p:sldId id="1091" r:id="rId10"/>
    <p:sldId id="1098" r:id="rId11"/>
    <p:sldId id="959" r:id="rId12"/>
    <p:sldId id="973" r:id="rId13"/>
    <p:sldId id="2147473090" r:id="rId14"/>
    <p:sldId id="2147473089" r:id="rId15"/>
    <p:sldId id="2147473094" r:id="rId16"/>
    <p:sldId id="2147473095" r:id="rId17"/>
    <p:sldId id="2147473093" r:id="rId18"/>
    <p:sldId id="2147473401" r:id="rId19"/>
    <p:sldId id="1178" r:id="rId20"/>
    <p:sldId id="2147473096" r:id="rId21"/>
    <p:sldId id="2147473100" r:id="rId22"/>
    <p:sldId id="2147473097" r:id="rId23"/>
    <p:sldId id="2147473287" r:id="rId24"/>
  </p:sldIdLst>
  <p:sldSz cx="12192000" cy="6858000"/>
  <p:notesSz cx="6858000" cy="9144000"/>
  <p:custDataLst>
    <p:tags r:id="rId27"/>
  </p:custDataLst>
  <p:defaultTextStyle>
    <a:defPPr>
      <a:defRPr lang="en-VN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0" userDrawn="1">
          <p15:clr>
            <a:srgbClr val="A4A3A4"/>
          </p15:clr>
        </p15:guide>
        <p15:guide id="6" orient="horz" pos="3960" userDrawn="1">
          <p15:clr>
            <a:srgbClr val="A4A3A4"/>
          </p15:clr>
        </p15:guide>
        <p15:guide id="7" orient="horz" pos="2160" userDrawn="1">
          <p15:clr>
            <a:srgbClr val="A4A3A4"/>
          </p15:clr>
        </p15:guide>
        <p15:guide id="8" pos="7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E5B8D15-EDFC-AB84-615C-BB03B3B789ED}" name="Jimmy McLellan" initials="JM" userId="S::jimmy@virtualmarketers.co.nz::be3dd268-1db2-49e6-8304-18d984ecb66b" providerId="AD"/>
  <p188:author id="{5FD96229-A915-7ADD-AB7E-B6DF661724DE}" name="Hannah Kofler" initials="HK" userId="S::hannah.kofler@constellr.com::ce6b41b9-1383-44a6-83ed-281b7fe9d8e4" providerId="AD"/>
  <p188:author id="{EC8BB630-58D9-9D5B-7102-D06CADD9FFF1}" name="Max Gulde" initials="MG" userId="S::max.gulde@constellr.com::8a94856c-0e23-4cea-a56e-5e69679ff3b7" providerId="AD"/>
  <p188:author id="{D8070632-07F7-40F7-FB7D-88011EC1BC4B}" name="Charlie  Siggs" initials="CS" userId="S::charlie.siggs@constellr.onmicrosoft.com::d2c31646-eb43-4741-b744-e172c301ee6a" providerId="AD"/>
  <p188:author id="{7DC83536-1993-E7E9-AD64-BE1FE8850FE9}" name="Daniel Kirkland" initials="DK" userId="Daniel Kirkland" providerId="None"/>
  <p188:author id="{ACA63738-1308-2E9B-48DD-E735BE750C09}" name="Susanne Oliver" initials="SO" userId="f9f87b61812448a9" providerId="Windows Live"/>
  <p188:author id="{258BA539-BC55-4CFE-6ED6-A79750F97681}" name="Rosa Schmidt" initials="RS" userId="S::rosa.schmidt@constellr.space::c6796743-3b6b-49ac-81ea-404deb7cdd39" providerId="AD"/>
  <p188:author id="{ABC6174B-9B1A-7879-435B-8B990BE8A991}" name="Paul Cogswell" initials="PC" userId="a5db9821d016fe4c" providerId="Windows Live"/>
  <p188:author id="{BF177A4B-776E-E59B-2BC1-B9FD5BA4C4CC}" name="Tijana Bugarcic" initials="TB" userId="d6a5db1e2c614d85" providerId="Windows Live"/>
  <p188:author id="{3FFABA4F-7859-4B8F-15A1-78D5FB4CDC08}" name="Yan De Paoli" initials="YP" userId="S::yan.depaoli@constellr.com::335d5039-ec00-495b-9344-b488b3dbbce2" providerId="AD"/>
  <p188:author id="{2436B850-9FE3-ECDA-280C-101C6830F855}" name="Christophe Lerot" initials="CL" userId="S::christophe.lerot@constellr.com::1ceec737-4651-43cc-8d99-be438d5aa37f" providerId="AD"/>
  <p188:author id="{B947F458-CF73-3FAF-A4FF-74F9AE609E51}" name="Cassi Welling" initials="CW" userId="S::cassi.welling@constellr.com::9e31dbc4-def5-48ec-9965-73e6f00ea1b4" providerId="AD"/>
  <p188:author id="{422CEC67-68DD-0335-AF01-AE5D727B22BA}" name="Giacomo Leoni" initials="" userId="S::giacomo.leoni@constellr.com::8db0b3a7-fccf-49b1-9484-0834ada0ab9a" providerId="AD"/>
  <p188:author id="{1DA1E669-DD9B-0D7C-B2A1-B3BCFC8668B0}" name="Tobias Leismann" initials="TL" userId="S::tobias.leismann@constellr.space::69547708-d79b-41d8-9046-7ab0c177e252" providerId="AD"/>
  <p188:author id="{E0E00570-EB50-D48B-0E7E-7AB6EFB3DB41}" name="Atin Jain" initials="AJ" userId="S::atin.jain@constellr.onmicrosoft.com::dbbf3051-5284-46f9-b71e-394eabca3fdf" providerId="AD"/>
  <p188:author id="{8EFF0C72-A099-B519-EDAB-4C8291A4A0E9}" name="Benjamin Seifert" initials="BS" userId="S::benjamin.seifert@constellr.space::f61ab646-ecc0-4090-ab23-80eb0238f222" providerId="AD"/>
  <p188:author id="{581F7489-18AD-1748-3954-07C9EE5D27C6}" name="Daniel Spengler" initials="DS" userId="S::daniel.spengler@constellr.space::e1890eb5-6d1e-427e-b698-2f8974be3be7" providerId="AD"/>
  <p188:author id="{8CE05CA0-A2A8-44E4-6ADB-9BEBE9833746}" name="Max Gulde" initials="MG" userId="S::max.gulde@constellr.space::8a94856c-0e23-4cea-a56e-5e69679ff3b7" providerId="AD"/>
  <p188:author id="{0F3BF4A1-8EB4-B29C-30D0-96E905AD1206}" name="Quentin Philippe" initials="QP" userId="S::quentin.philippe@constellr.com::5b0a7a48-e488-4562-b885-787de250ef20" providerId="AD"/>
  <p188:author id="{2B3448A6-508D-8573-5D8B-E69C503B0212}" name="Lina Hollender" initials="LH" userId="S::lina@constellr.onmicrosoft.com::ab66cd9d-c779-4168-b6bd-656807782897" providerId="AD"/>
  <p188:author id="{B4BC07B6-2FBE-C132-5CB4-62E42DEC79A2}" name="Matthieu Taymans" initials="MT" userId="S::matthieu.taymans@constellr.space::55988a90-3f85-4593-9bfe-ca138de17914" providerId="AD"/>
  <p188:author id="{3086FEB7-E08F-E21D-6F25-A2723AFCD413}" name="Charlie  Siggs" initials="CS" userId="S::charlie.siggs@constellr.com::d2c31646-eb43-4741-b744-e172c301ee6a" providerId="AD"/>
  <p188:author id="{97348CB9-44CB-5950-A393-A0F773771424}" name="Sam Whalley" initials="SW" userId="S::sam.whalley@constellr.com::6107be14-0708-4e5f-8db5-afcb971fbbd2" providerId="AD"/>
  <p188:author id="{611816C4-19AB-17F4-FF60-E1173A1C90F6}" name="Giacomo Leoni" initials="GL" userId="S::giacomo.leoni@constellr.onmicrosoft.com::8db0b3a7-fccf-49b1-9484-0834ada0ab9a" providerId="AD"/>
  <p188:author id="{368760D2-F6A0-B29D-4EB5-1B7627C5A27A}" name="Matthieu Taymans" initials="MT" userId="S::matthieu.taymans@constellr.com::55988a90-3f85-4593-9bfe-ca138de17914" providerId="AD"/>
  <p188:author id="{DE5D6BD9-E5CE-4AAC-FDE5-F59955A5DDEE}" name="Sam Whalley" initials="SW" userId="S::sam.whalley@constellr.space::6107be14-0708-4e5f-8db5-afcb971fbbd2" providerId="AD"/>
  <p188:author id="{AB0DCEDC-89C5-7484-8F35-51188FA92630}" name="Tobias Leismann" initials="TL" userId="S::tobias.leismann@constellr.com::69547708-d79b-41d8-9046-7ab0c177e252" providerId="AD"/>
  <p188:author id="{3D7E2BDD-37E2-3C5F-8612-C85672313E68}" name="Cassi Welling" initials="CW" userId="S::cassi@constellr.onmicrosoft.com::9e31dbc4-def5-48ec-9965-73e6f00ea1b4" providerId="AD"/>
  <p188:author id="{522197DD-72CD-7E68-1302-4FFBC8D4C4D8}" name="Iliass Tanouti" initials="IT" userId="S::iliass.tanouti@constellr.com::97e865a1-c266-4ae0-b7a5-fa89d634f102" providerId="AD"/>
  <p188:author id="{DF6885E0-5289-61F5-D0BC-F29A97C73B97}" name="Max Gulde" initials="MG" userId="c5c013173e28e5f1" providerId="Windows Live"/>
  <p188:author id="{CDB6C5EE-FF09-D37A-F36C-3B6907560B91}" name="Atin Jain" initials="AJ" userId="S::atin.jain@constellr.space::dbbf3051-5284-46f9-b71e-394eabca3fdf" providerId="AD"/>
  <p188:author id="{4919DEF4-8D56-B80F-B6D6-5E17958C63DF}" name="Rosa Schmidt" initials="RS" userId="S::rosa.schmidt@constellr.com::c6796743-3b6b-49ac-81ea-404deb7cdd39" providerId="AD"/>
  <p188:author id="{BF37CBFE-4E16-7FA4-8378-2CBFD49866C4}" name="Charlie  Siggs" initials="CS" userId="S::charlie.siggs@constellr.space::d2c31646-eb43-4741-b744-e172c301ee6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0E46"/>
    <a:srgbClr val="2B6BD8"/>
    <a:srgbClr val="E0DFE4"/>
    <a:srgbClr val="46D7F7"/>
    <a:srgbClr val="ED7D31"/>
    <a:srgbClr val="ECB637"/>
    <a:srgbClr val="2B6BDA"/>
    <a:srgbClr val="244277"/>
    <a:srgbClr val="1C0F46"/>
    <a:srgbClr val="F3F3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859261-F225-8A41-9EFB-F1D921F379C4}" v="1" dt="2024-12-03T08:59:35.035"/>
    <p1510:client id="{CB9724BD-D30E-FA4A-8CF9-A79112025F18}" v="1" dt="2024-12-02T21:57:58.276"/>
    <p1510:client id="{E3766871-5875-4C24-8A48-EA7C0E760435}" v="166" dt="2024-12-03T08:06:20.899"/>
  </p1510:revLst>
</p1510:revInfo>
</file>

<file path=ppt/tableStyles.xml><?xml version="1.0" encoding="utf-8"?>
<a:tblStyleLst xmlns:a="http://schemas.openxmlformats.org/drawingml/2006/main" def="{91EBBBCC-DAD2-459C-BE2E-F6DE35CF9A28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300"/>
        <p:guide orient="horz" pos="3960"/>
        <p:guide orient="horz" pos="2160"/>
        <p:guide pos="768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lis Freedman" userId="S::ellis.freedman@constellr.com::08f1ed93-8587-4fd0-b65a-1a60df964953" providerId="AD" clId="Web-{DCC36D0D-522F-1319-95BF-F3C9193DB99C}"/>
    <pc:docChg chg="modSld">
      <pc:chgData name="Ellis Freedman" userId="S::ellis.freedman@constellr.com::08f1ed93-8587-4fd0-b65a-1a60df964953" providerId="AD" clId="Web-{DCC36D0D-522F-1319-95BF-F3C9193DB99C}" dt="2024-11-25T11:34:39.585" v="0" actId="1076"/>
      <pc:docMkLst>
        <pc:docMk/>
      </pc:docMkLst>
      <pc:sldChg chg="modSp">
        <pc:chgData name="Ellis Freedman" userId="S::ellis.freedman@constellr.com::08f1ed93-8587-4fd0-b65a-1a60df964953" providerId="AD" clId="Web-{DCC36D0D-522F-1319-95BF-F3C9193DB99C}" dt="2024-11-25T11:34:39.585" v="0" actId="1076"/>
        <pc:sldMkLst>
          <pc:docMk/>
          <pc:sldMk cId="3598046251" sldId="2147473093"/>
        </pc:sldMkLst>
        <pc:picChg chg="mod">
          <ac:chgData name="Ellis Freedman" userId="S::ellis.freedman@constellr.com::08f1ed93-8587-4fd0-b65a-1a60df964953" providerId="AD" clId="Web-{DCC36D0D-522F-1319-95BF-F3C9193DB99C}" dt="2024-11-25T11:34:39.585" v="0" actId="1076"/>
          <ac:picMkLst>
            <pc:docMk/>
            <pc:sldMk cId="3598046251" sldId="2147473093"/>
            <ac:picMk id="16" creationId="{9D0E6180-A1CF-340D-76BE-3C0471CF93CC}"/>
          </ac:picMkLst>
        </pc:picChg>
      </pc:sldChg>
    </pc:docChg>
  </pc:docChgLst>
  <pc:docChgLst>
    <pc:chgData name="Christophe Lerot" userId="S::christophe.lerot@constellr.com::1ceec737-4651-43cc-8d99-be438d5aa37f" providerId="AD" clId="Web-{48B24A97-D6AA-1BBD-E0E8-087AA168094B}"/>
    <pc:docChg chg="modSld">
      <pc:chgData name="Christophe Lerot" userId="S::christophe.lerot@constellr.com::1ceec737-4651-43cc-8d99-be438d5aa37f" providerId="AD" clId="Web-{48B24A97-D6AA-1BBD-E0E8-087AA168094B}" dt="2024-11-25T09:25:47.809" v="26"/>
      <pc:docMkLst>
        <pc:docMk/>
      </pc:docMkLst>
      <pc:sldChg chg="addSp delSp modSp">
        <pc:chgData name="Christophe Lerot" userId="S::christophe.lerot@constellr.com::1ceec737-4651-43cc-8d99-be438d5aa37f" providerId="AD" clId="Web-{48B24A97-D6AA-1BBD-E0E8-087AA168094B}" dt="2024-11-25T09:25:47.809" v="26"/>
        <pc:sldMkLst>
          <pc:docMk/>
          <pc:sldMk cId="3846767903" sldId="1098"/>
        </pc:sldMkLst>
        <pc:spChg chg="mod">
          <ac:chgData name="Christophe Lerot" userId="S::christophe.lerot@constellr.com::1ceec737-4651-43cc-8d99-be438d5aa37f" providerId="AD" clId="Web-{48B24A97-D6AA-1BBD-E0E8-087AA168094B}" dt="2024-11-25T09:24:02.133" v="0" actId="1076"/>
          <ac:spMkLst>
            <pc:docMk/>
            <pc:sldMk cId="3846767903" sldId="1098"/>
            <ac:spMk id="15" creationId="{E9B35492-B0D1-DB17-C714-99CD1EF62C73}"/>
          </ac:spMkLst>
        </pc:spChg>
        <pc:spChg chg="add mod">
          <ac:chgData name="Christophe Lerot" userId="S::christophe.lerot@constellr.com::1ceec737-4651-43cc-8d99-be438d5aa37f" providerId="AD" clId="Web-{48B24A97-D6AA-1BBD-E0E8-087AA168094B}" dt="2024-11-25T09:25:09.683" v="25" actId="14100"/>
          <ac:spMkLst>
            <pc:docMk/>
            <pc:sldMk cId="3846767903" sldId="1098"/>
            <ac:spMk id="22" creationId="{7A0661BF-DFA6-FD75-A57A-95E4F20BC80E}"/>
          </ac:spMkLst>
        </pc:spChg>
        <pc:grpChg chg="add del">
          <ac:chgData name="Christophe Lerot" userId="S::christophe.lerot@constellr.com::1ceec737-4651-43cc-8d99-be438d5aa37f" providerId="AD" clId="Web-{48B24A97-D6AA-1BBD-E0E8-087AA168094B}" dt="2024-11-25T09:24:19.650" v="3"/>
          <ac:grpSpMkLst>
            <pc:docMk/>
            <pc:sldMk cId="3846767903" sldId="1098"/>
            <ac:grpSpMk id="12" creationId="{1581FA77-D571-8A12-68FC-BA951135E11C}"/>
          </ac:grpSpMkLst>
        </pc:grpChg>
        <pc:picChg chg="add del mod">
          <ac:chgData name="Christophe Lerot" userId="S::christophe.lerot@constellr.com::1ceec737-4651-43cc-8d99-be438d5aa37f" providerId="AD" clId="Web-{48B24A97-D6AA-1BBD-E0E8-087AA168094B}" dt="2024-11-25T09:25:47.809" v="26"/>
          <ac:picMkLst>
            <pc:docMk/>
            <pc:sldMk cId="3846767903" sldId="1098"/>
            <ac:picMk id="7" creationId="{1A43355E-3B76-F3EC-0852-BB9B6F881B86}"/>
          </ac:picMkLst>
        </pc:picChg>
      </pc:sldChg>
    </pc:docChg>
  </pc:docChgLst>
  <pc:docChgLst>
    <pc:chgData name="Christophe Lerot" userId="1ceec737-4651-43cc-8d99-be438d5aa37f" providerId="ADAL" clId="{CA02B4F7-991D-4268-BCF2-D5846F84D7C0}"/>
    <pc:docChg chg="undo redo custSel addSld delSld modSld sldOrd delMainMaster modMainMaster">
      <pc:chgData name="Christophe Lerot" userId="1ceec737-4651-43cc-8d99-be438d5aa37f" providerId="ADAL" clId="{CA02B4F7-991D-4268-BCF2-D5846F84D7C0}" dt="2024-11-25T09:09:23.949" v="4095" actId="1035"/>
      <pc:docMkLst>
        <pc:docMk/>
      </pc:docMkLst>
      <pc:sldChg chg="addSp delSp modSp mod ord modClrScheme chgLayout">
        <pc:chgData name="Christophe Lerot" userId="1ceec737-4651-43cc-8d99-be438d5aa37f" providerId="ADAL" clId="{CA02B4F7-991D-4268-BCF2-D5846F84D7C0}" dt="2024-11-25T08:28:55.662" v="3776" actId="6549"/>
        <pc:sldMkLst>
          <pc:docMk/>
          <pc:sldMk cId="330641209" sldId="959"/>
        </pc:sldMkLst>
        <pc:spChg chg="add mod ord">
          <ac:chgData name="Christophe Lerot" userId="1ceec737-4651-43cc-8d99-be438d5aa37f" providerId="ADAL" clId="{CA02B4F7-991D-4268-BCF2-D5846F84D7C0}" dt="2024-11-22T11:41:20.589" v="1791" actId="700"/>
          <ac:spMkLst>
            <pc:docMk/>
            <pc:sldMk cId="330641209" sldId="959"/>
            <ac:spMk id="10" creationId="{73B27980-E321-6C2B-5AF6-6C235D6653E7}"/>
          </ac:spMkLst>
        </pc:spChg>
        <pc:spChg chg="add mod">
          <ac:chgData name="Christophe Lerot" userId="1ceec737-4651-43cc-8d99-be438d5aa37f" providerId="ADAL" clId="{CA02B4F7-991D-4268-BCF2-D5846F84D7C0}" dt="2024-11-25T08:28:55.662" v="3776" actId="6549"/>
          <ac:spMkLst>
            <pc:docMk/>
            <pc:sldMk cId="330641209" sldId="959"/>
            <ac:spMk id="12" creationId="{B9DE063F-E644-7641-CA6E-F19F3AEF6E68}"/>
          </ac:spMkLst>
        </pc:spChg>
        <pc:spChg chg="mod">
          <ac:chgData name="Christophe Lerot" userId="1ceec737-4651-43cc-8d99-be438d5aa37f" providerId="ADAL" clId="{CA02B4F7-991D-4268-BCF2-D5846F84D7C0}" dt="2024-11-22T13:31:20.581" v="1916" actId="1036"/>
          <ac:spMkLst>
            <pc:docMk/>
            <pc:sldMk cId="330641209" sldId="959"/>
            <ac:spMk id="42" creationId="{23F5EAD7-CDF9-ECD1-D51E-B9983C9AC937}"/>
          </ac:spMkLst>
        </pc:spChg>
        <pc:spChg chg="mod">
          <ac:chgData name="Christophe Lerot" userId="1ceec737-4651-43cc-8d99-be438d5aa37f" providerId="ADAL" clId="{CA02B4F7-991D-4268-BCF2-D5846F84D7C0}" dt="2024-11-22T13:31:20.581" v="1916" actId="1036"/>
          <ac:spMkLst>
            <pc:docMk/>
            <pc:sldMk cId="330641209" sldId="959"/>
            <ac:spMk id="43" creationId="{1E19FFCA-33CA-9CEF-DDF2-7344E4B13524}"/>
          </ac:spMkLst>
        </pc:spChg>
        <pc:spChg chg="mod">
          <ac:chgData name="Christophe Lerot" userId="1ceec737-4651-43cc-8d99-be438d5aa37f" providerId="ADAL" clId="{CA02B4F7-991D-4268-BCF2-D5846F84D7C0}" dt="2024-11-22T13:31:20.581" v="1916" actId="1036"/>
          <ac:spMkLst>
            <pc:docMk/>
            <pc:sldMk cId="330641209" sldId="959"/>
            <ac:spMk id="44" creationId="{D9B0A92B-0DFE-DBB8-9BE4-F9B01A9A9518}"/>
          </ac:spMkLst>
        </pc:spChg>
        <pc:spChg chg="mod">
          <ac:chgData name="Christophe Lerot" userId="1ceec737-4651-43cc-8d99-be438d5aa37f" providerId="ADAL" clId="{CA02B4F7-991D-4268-BCF2-D5846F84D7C0}" dt="2024-11-22T13:31:20.581" v="1916" actId="1036"/>
          <ac:spMkLst>
            <pc:docMk/>
            <pc:sldMk cId="330641209" sldId="959"/>
            <ac:spMk id="45" creationId="{B80A8C74-867E-6E47-3636-1922CE41B181}"/>
          </ac:spMkLst>
        </pc:spChg>
        <pc:spChg chg="mod">
          <ac:chgData name="Christophe Lerot" userId="1ceec737-4651-43cc-8d99-be438d5aa37f" providerId="ADAL" clId="{CA02B4F7-991D-4268-BCF2-D5846F84D7C0}" dt="2024-11-19T13:49:11.386" v="904" actId="20577"/>
          <ac:spMkLst>
            <pc:docMk/>
            <pc:sldMk cId="330641209" sldId="959"/>
            <ac:spMk id="70" creationId="{D63BDAB2-6D72-3A6B-126C-CD10E8995623}"/>
          </ac:spMkLst>
        </pc:spChg>
        <pc:picChg chg="add mod ord modCrop">
          <ac:chgData name="Christophe Lerot" userId="1ceec737-4651-43cc-8d99-be438d5aa37f" providerId="ADAL" clId="{CA02B4F7-991D-4268-BCF2-D5846F84D7C0}" dt="2024-11-22T13:31:11.705" v="1898" actId="1076"/>
          <ac:picMkLst>
            <pc:docMk/>
            <pc:sldMk cId="330641209" sldId="959"/>
            <ac:picMk id="16" creationId="{A25B322C-E468-E247-5E0C-794BAC7CFC29}"/>
          </ac:picMkLst>
        </pc:picChg>
        <pc:picChg chg="mod">
          <ac:chgData name="Christophe Lerot" userId="1ceec737-4651-43cc-8d99-be438d5aa37f" providerId="ADAL" clId="{CA02B4F7-991D-4268-BCF2-D5846F84D7C0}" dt="2024-11-22T13:30:53.377" v="1896" actId="167"/>
          <ac:picMkLst>
            <pc:docMk/>
            <pc:sldMk cId="330641209" sldId="959"/>
            <ac:picMk id="72" creationId="{51099466-DEAC-27A9-9985-D6CE49E49ACB}"/>
          </ac:picMkLst>
        </pc:picChg>
        <pc:picChg chg="mod">
          <ac:chgData name="Christophe Lerot" userId="1ceec737-4651-43cc-8d99-be438d5aa37f" providerId="ADAL" clId="{CA02B4F7-991D-4268-BCF2-D5846F84D7C0}" dt="2024-11-22T13:25:00.275" v="1871" actId="1076"/>
          <ac:picMkLst>
            <pc:docMk/>
            <pc:sldMk cId="330641209" sldId="959"/>
            <ac:picMk id="1028" creationId="{90509B70-0B63-B66D-59D5-A1B4998B202B}"/>
          </ac:picMkLst>
        </pc:picChg>
        <pc:cxnChg chg="mod">
          <ac:chgData name="Christophe Lerot" userId="1ceec737-4651-43cc-8d99-be438d5aa37f" providerId="ADAL" clId="{CA02B4F7-991D-4268-BCF2-D5846F84D7C0}" dt="2024-11-22T13:31:20.581" v="1916" actId="1036"/>
          <ac:cxnSpMkLst>
            <pc:docMk/>
            <pc:sldMk cId="330641209" sldId="959"/>
            <ac:cxnSpMk id="53" creationId="{4A260F9A-B994-74FB-AFC4-6C75809DBB6C}"/>
          </ac:cxnSpMkLst>
        </pc:cxnChg>
        <pc:cxnChg chg="mod">
          <ac:chgData name="Christophe Lerot" userId="1ceec737-4651-43cc-8d99-be438d5aa37f" providerId="ADAL" clId="{CA02B4F7-991D-4268-BCF2-D5846F84D7C0}" dt="2024-11-22T13:31:20.581" v="1916" actId="1036"/>
          <ac:cxnSpMkLst>
            <pc:docMk/>
            <pc:sldMk cId="330641209" sldId="959"/>
            <ac:cxnSpMk id="54" creationId="{905B778D-0EA1-9EA1-FA2D-4330B5AF1312}"/>
          </ac:cxnSpMkLst>
        </pc:cxnChg>
        <pc:cxnChg chg="mod">
          <ac:chgData name="Christophe Lerot" userId="1ceec737-4651-43cc-8d99-be438d5aa37f" providerId="ADAL" clId="{CA02B4F7-991D-4268-BCF2-D5846F84D7C0}" dt="2024-11-22T13:31:20.581" v="1916" actId="1036"/>
          <ac:cxnSpMkLst>
            <pc:docMk/>
            <pc:sldMk cId="330641209" sldId="959"/>
            <ac:cxnSpMk id="55" creationId="{7CD3F4B5-B146-7B0C-6873-A4979A804AB8}"/>
          </ac:cxnSpMkLst>
        </pc:cxnChg>
      </pc:sldChg>
      <pc:sldChg chg="modSp mod modClrScheme chgLayout">
        <pc:chgData name="Christophe Lerot" userId="1ceec737-4651-43cc-8d99-be438d5aa37f" providerId="ADAL" clId="{CA02B4F7-991D-4268-BCF2-D5846F84D7C0}" dt="2024-11-22T11:39:31.955" v="1782" actId="700"/>
        <pc:sldMkLst>
          <pc:docMk/>
          <pc:sldMk cId="94344" sldId="973"/>
        </pc:sldMkLst>
        <pc:spChg chg="mod">
          <ac:chgData name="Christophe Lerot" userId="1ceec737-4651-43cc-8d99-be438d5aa37f" providerId="ADAL" clId="{CA02B4F7-991D-4268-BCF2-D5846F84D7C0}" dt="2024-11-22T11:39:17.464" v="1780" actId="207"/>
          <ac:spMkLst>
            <pc:docMk/>
            <pc:sldMk cId="94344" sldId="973"/>
            <ac:spMk id="8" creationId="{2B8C27AE-ED15-5853-4E70-3DE33B0E50C7}"/>
          </ac:spMkLst>
        </pc:spChg>
        <pc:spChg chg="mod ord">
          <ac:chgData name="Christophe Lerot" userId="1ceec737-4651-43cc-8d99-be438d5aa37f" providerId="ADAL" clId="{CA02B4F7-991D-4268-BCF2-D5846F84D7C0}" dt="2024-11-22T11:39:31.955" v="1782" actId="700"/>
          <ac:spMkLst>
            <pc:docMk/>
            <pc:sldMk cId="94344" sldId="973"/>
            <ac:spMk id="12" creationId="{29BC4358-BDEB-6002-0F40-1F554134E2E2}"/>
          </ac:spMkLst>
        </pc:spChg>
        <pc:spChg chg="mod ord">
          <ac:chgData name="Christophe Lerot" userId="1ceec737-4651-43cc-8d99-be438d5aa37f" providerId="ADAL" clId="{CA02B4F7-991D-4268-BCF2-D5846F84D7C0}" dt="2024-11-22T11:39:31.955" v="1782" actId="700"/>
          <ac:spMkLst>
            <pc:docMk/>
            <pc:sldMk cId="94344" sldId="973"/>
            <ac:spMk id="13" creationId="{E47A1B51-3083-4F4A-B5CA-CDB08F4B110E}"/>
          </ac:spMkLst>
        </pc:spChg>
        <pc:spChg chg="mod ord">
          <ac:chgData name="Christophe Lerot" userId="1ceec737-4651-43cc-8d99-be438d5aa37f" providerId="ADAL" clId="{CA02B4F7-991D-4268-BCF2-D5846F84D7C0}" dt="2024-11-22T11:39:31.955" v="1782" actId="700"/>
          <ac:spMkLst>
            <pc:docMk/>
            <pc:sldMk cId="94344" sldId="973"/>
            <ac:spMk id="15" creationId="{F7B70B42-3C57-3B6A-EB51-1D1244C098B4}"/>
          </ac:spMkLst>
        </pc:spChg>
        <pc:spChg chg="mod">
          <ac:chgData name="Christophe Lerot" userId="1ceec737-4651-43cc-8d99-be438d5aa37f" providerId="ADAL" clId="{CA02B4F7-991D-4268-BCF2-D5846F84D7C0}" dt="2024-11-19T13:41:09.936" v="847" actId="20577"/>
          <ac:spMkLst>
            <pc:docMk/>
            <pc:sldMk cId="94344" sldId="973"/>
            <ac:spMk id="92" creationId="{1F5BBFF5-7AF1-4970-9375-5F3CF329017A}"/>
          </ac:spMkLst>
        </pc:spChg>
        <pc:graphicFrameChg chg="modGraphic">
          <ac:chgData name="Christophe Lerot" userId="1ceec737-4651-43cc-8d99-be438d5aa37f" providerId="ADAL" clId="{CA02B4F7-991D-4268-BCF2-D5846F84D7C0}" dt="2024-11-19T13:39:33.018" v="843" actId="20577"/>
          <ac:graphicFrameMkLst>
            <pc:docMk/>
            <pc:sldMk cId="94344" sldId="973"/>
            <ac:graphicFrameMk id="6" creationId="{D6D711B8-1C0C-D265-F944-B67CF39E1967}"/>
          </ac:graphicFrameMkLst>
        </pc:graphicFrameChg>
      </pc:sldChg>
      <pc:sldChg chg="addSp delSp modSp mod">
        <pc:chgData name="Christophe Lerot" userId="1ceec737-4651-43cc-8d99-be438d5aa37f" providerId="ADAL" clId="{CA02B4F7-991D-4268-BCF2-D5846F84D7C0}" dt="2024-11-22T08:43:18.190" v="933" actId="20577"/>
        <pc:sldMkLst>
          <pc:docMk/>
          <pc:sldMk cId="2722315627" sldId="1079"/>
        </pc:sldMkLst>
        <pc:spChg chg="add mod">
          <ac:chgData name="Christophe Lerot" userId="1ceec737-4651-43cc-8d99-be438d5aa37f" providerId="ADAL" clId="{CA02B4F7-991D-4268-BCF2-D5846F84D7C0}" dt="2024-11-19T10:54:13.511" v="96" actId="1076"/>
          <ac:spMkLst>
            <pc:docMk/>
            <pc:sldMk cId="2722315627" sldId="1079"/>
            <ac:spMk id="5" creationId="{CF29FD43-6305-CFEC-5DA7-3E74D09B0A12}"/>
          </ac:spMkLst>
        </pc:spChg>
        <pc:spChg chg="add mod">
          <ac:chgData name="Christophe Lerot" userId="1ceec737-4651-43cc-8d99-be438d5aa37f" providerId="ADAL" clId="{CA02B4F7-991D-4268-BCF2-D5846F84D7C0}" dt="2024-11-22T08:43:18.190" v="933" actId="20577"/>
          <ac:spMkLst>
            <pc:docMk/>
            <pc:sldMk cId="2722315627" sldId="1079"/>
            <ac:spMk id="7" creationId="{13C80A3E-0EEA-511A-8B0A-7631CE8B8492}"/>
          </ac:spMkLst>
        </pc:spChg>
        <pc:spChg chg="mod">
          <ac:chgData name="Christophe Lerot" userId="1ceec737-4651-43cc-8d99-be438d5aa37f" providerId="ADAL" clId="{CA02B4F7-991D-4268-BCF2-D5846F84D7C0}" dt="2024-11-19T16:31:43.375" v="907" actId="20577"/>
          <ac:spMkLst>
            <pc:docMk/>
            <pc:sldMk cId="2722315627" sldId="1079"/>
            <ac:spMk id="11" creationId="{95B60D26-029F-6047-8DC7-AA93F4FDA1B4}"/>
          </ac:spMkLst>
        </pc:spChg>
        <pc:spChg chg="mod ord">
          <ac:chgData name="Christophe Lerot" userId="1ceec737-4651-43cc-8d99-be438d5aa37f" providerId="ADAL" clId="{CA02B4F7-991D-4268-BCF2-D5846F84D7C0}" dt="2024-11-19T13:03:48.097" v="532" actId="14100"/>
          <ac:spMkLst>
            <pc:docMk/>
            <pc:sldMk cId="2722315627" sldId="1079"/>
            <ac:spMk id="13" creationId="{7FFEA6A9-32D0-1344-897E-8998E7BE75C3}"/>
          </ac:spMkLst>
        </pc:spChg>
        <pc:picChg chg="add mod">
          <ac:chgData name="Christophe Lerot" userId="1ceec737-4651-43cc-8d99-be438d5aa37f" providerId="ADAL" clId="{CA02B4F7-991D-4268-BCF2-D5846F84D7C0}" dt="2024-11-19T10:52:07.552" v="73" actId="1076"/>
          <ac:picMkLst>
            <pc:docMk/>
            <pc:sldMk cId="2722315627" sldId="1079"/>
            <ac:picMk id="8" creationId="{93492FBA-74BD-87B4-7144-8F503995E59A}"/>
          </ac:picMkLst>
        </pc:picChg>
        <pc:picChg chg="mod">
          <ac:chgData name="Christophe Lerot" userId="1ceec737-4651-43cc-8d99-be438d5aa37f" providerId="ADAL" clId="{CA02B4F7-991D-4268-BCF2-D5846F84D7C0}" dt="2024-11-19T16:31:54.546" v="908" actId="14100"/>
          <ac:picMkLst>
            <pc:docMk/>
            <pc:sldMk cId="2722315627" sldId="1079"/>
            <ac:picMk id="9" creationId="{E89F9C14-460E-C945-814F-8BD5A48D6442}"/>
          </ac:picMkLst>
        </pc:picChg>
      </pc:sldChg>
      <pc:sldChg chg="addSp modSp add del mod setBg modClrScheme chgLayout">
        <pc:chgData name="Christophe Lerot" userId="1ceec737-4651-43cc-8d99-be438d5aa37f" providerId="ADAL" clId="{CA02B4F7-991D-4268-BCF2-D5846F84D7C0}" dt="2024-11-22T14:55:53.435" v="2648"/>
        <pc:sldMkLst>
          <pc:docMk/>
          <pc:sldMk cId="3776596823" sldId="1080"/>
        </pc:sldMkLst>
        <pc:spChg chg="add mod ord">
          <ac:chgData name="Christophe Lerot" userId="1ceec737-4651-43cc-8d99-be438d5aa37f" providerId="ADAL" clId="{CA02B4F7-991D-4268-BCF2-D5846F84D7C0}" dt="2024-11-19T13:32:06.047" v="791" actId="700"/>
          <ac:spMkLst>
            <pc:docMk/>
            <pc:sldMk cId="3776596823" sldId="1080"/>
            <ac:spMk id="14" creationId="{53CE934C-4E93-B1FC-77F5-4EF95A70D78B}"/>
          </ac:spMkLst>
        </pc:spChg>
        <pc:spChg chg="mod">
          <ac:chgData name="Christophe Lerot" userId="1ceec737-4651-43cc-8d99-be438d5aa37f" providerId="ADAL" clId="{CA02B4F7-991D-4268-BCF2-D5846F84D7C0}" dt="2024-11-19T13:23:48.013" v="776" actId="20577"/>
          <ac:spMkLst>
            <pc:docMk/>
            <pc:sldMk cId="3776596823" sldId="1080"/>
            <ac:spMk id="15" creationId="{091208EB-51FA-6278-5192-FB207F93CFE6}"/>
          </ac:spMkLst>
        </pc:spChg>
        <pc:spChg chg="mod ord">
          <ac:chgData name="Christophe Lerot" userId="1ceec737-4651-43cc-8d99-be438d5aa37f" providerId="ADAL" clId="{CA02B4F7-991D-4268-BCF2-D5846F84D7C0}" dt="2024-11-22T14:55:53.435" v="2648"/>
          <ac:spMkLst>
            <pc:docMk/>
            <pc:sldMk cId="3776596823" sldId="1080"/>
            <ac:spMk id="16" creationId="{E299A1C7-3BBC-8C3F-81E3-EFFBD5424476}"/>
          </ac:spMkLst>
        </pc:spChg>
        <pc:spChg chg="mod">
          <ac:chgData name="Christophe Lerot" userId="1ceec737-4651-43cc-8d99-be438d5aa37f" providerId="ADAL" clId="{CA02B4F7-991D-4268-BCF2-D5846F84D7C0}" dt="2024-11-19T13:20:09.805" v="621" actId="20577"/>
          <ac:spMkLst>
            <pc:docMk/>
            <pc:sldMk cId="3776596823" sldId="1080"/>
            <ac:spMk id="19" creationId="{529E57EA-905C-B2FE-316A-89728D6001E4}"/>
          </ac:spMkLst>
        </pc:spChg>
        <pc:spChg chg="mod">
          <ac:chgData name="Christophe Lerot" userId="1ceec737-4651-43cc-8d99-be438d5aa37f" providerId="ADAL" clId="{CA02B4F7-991D-4268-BCF2-D5846F84D7C0}" dt="2024-11-22T08:44:51.228" v="944" actId="1036"/>
          <ac:spMkLst>
            <pc:docMk/>
            <pc:sldMk cId="3776596823" sldId="1080"/>
            <ac:spMk id="41" creationId="{5EB58C8A-CBF8-14B7-1BA6-27E022AD05B3}"/>
          </ac:spMkLst>
        </pc:spChg>
        <pc:spChg chg="mod">
          <ac:chgData name="Christophe Lerot" userId="1ceec737-4651-43cc-8d99-be438d5aa37f" providerId="ADAL" clId="{CA02B4F7-991D-4268-BCF2-D5846F84D7C0}" dt="2024-11-19T13:17:12.903" v="608" actId="20577"/>
          <ac:spMkLst>
            <pc:docMk/>
            <pc:sldMk cId="3776596823" sldId="1080"/>
            <ac:spMk id="65" creationId="{841E02E9-89EE-13F2-F975-7283E8F48299}"/>
          </ac:spMkLst>
        </pc:spChg>
        <pc:spChg chg="mod">
          <ac:chgData name="Christophe Lerot" userId="1ceec737-4651-43cc-8d99-be438d5aa37f" providerId="ADAL" clId="{CA02B4F7-991D-4268-BCF2-D5846F84D7C0}" dt="2024-11-19T13:15:47.135" v="606" actId="20577"/>
          <ac:spMkLst>
            <pc:docMk/>
            <pc:sldMk cId="3776596823" sldId="1080"/>
            <ac:spMk id="69" creationId="{17F43824-3761-BC1E-750F-CAF06AE23F5B}"/>
          </ac:spMkLst>
        </pc:spChg>
      </pc:sldChg>
      <pc:sldChg chg="del">
        <pc:chgData name="Christophe Lerot" userId="1ceec737-4651-43cc-8d99-be438d5aa37f" providerId="ADAL" clId="{CA02B4F7-991D-4268-BCF2-D5846F84D7C0}" dt="2024-11-19T13:26:51.762" v="786" actId="47"/>
        <pc:sldMkLst>
          <pc:docMk/>
          <pc:sldMk cId="1666941644" sldId="1090"/>
        </pc:sldMkLst>
      </pc:sldChg>
      <pc:sldChg chg="addSp delSp modSp mod modClrScheme chgLayout">
        <pc:chgData name="Christophe Lerot" userId="1ceec737-4651-43cc-8d99-be438d5aa37f" providerId="ADAL" clId="{CA02B4F7-991D-4268-BCF2-D5846F84D7C0}" dt="2024-11-22T11:40:14.091" v="1787" actId="478"/>
        <pc:sldMkLst>
          <pc:docMk/>
          <pc:sldMk cId="383146003" sldId="1091"/>
        </pc:sldMkLst>
        <pc:spChg chg="add mod ord">
          <ac:chgData name="Christophe Lerot" userId="1ceec737-4651-43cc-8d99-be438d5aa37f" providerId="ADAL" clId="{CA02B4F7-991D-4268-BCF2-D5846F84D7C0}" dt="2024-11-22T11:35:51.763" v="1757" actId="700"/>
          <ac:spMkLst>
            <pc:docMk/>
            <pc:sldMk cId="383146003" sldId="1091"/>
            <ac:spMk id="8" creationId="{E90647CB-DFB3-D23E-EB3C-9810355E7FC0}"/>
          </ac:spMkLst>
        </pc:spChg>
        <pc:spChg chg="add del">
          <ac:chgData name="Christophe Lerot" userId="1ceec737-4651-43cc-8d99-be438d5aa37f" providerId="ADAL" clId="{CA02B4F7-991D-4268-BCF2-D5846F84D7C0}" dt="2024-11-22T11:36:27.840" v="1766" actId="478"/>
          <ac:spMkLst>
            <pc:docMk/>
            <pc:sldMk cId="383146003" sldId="1091"/>
            <ac:spMk id="59" creationId="{4D7F6C33-B85D-9747-937D-7C667BE08418}"/>
          </ac:spMkLst>
        </pc:spChg>
        <pc:spChg chg="mod">
          <ac:chgData name="Christophe Lerot" userId="1ceec737-4651-43cc-8d99-be438d5aa37f" providerId="ADAL" clId="{CA02B4F7-991D-4268-BCF2-D5846F84D7C0}" dt="2024-11-22T11:40:02.800" v="1786" actId="6549"/>
          <ac:spMkLst>
            <pc:docMk/>
            <pc:sldMk cId="383146003" sldId="1091"/>
            <ac:spMk id="65" creationId="{E09D6A7F-7D5D-E248-99A7-FE3B2ADCF2DF}"/>
          </ac:spMkLst>
        </pc:spChg>
        <pc:picChg chg="add del">
          <ac:chgData name="Christophe Lerot" userId="1ceec737-4651-43cc-8d99-be438d5aa37f" providerId="ADAL" clId="{CA02B4F7-991D-4268-BCF2-D5846F84D7C0}" dt="2024-11-22T11:36:27.095" v="1765" actId="478"/>
          <ac:picMkLst>
            <pc:docMk/>
            <pc:sldMk cId="383146003" sldId="1091"/>
            <ac:picMk id="37" creationId="{8BC8EE9D-AB73-4746-A578-CA8B88DA4B82}"/>
          </ac:picMkLst>
        </pc:picChg>
      </pc:sldChg>
      <pc:sldChg chg="addSp delSp modSp add del mod setBg chgLayout modNotesTx">
        <pc:chgData name="Christophe Lerot" userId="1ceec737-4651-43cc-8d99-be438d5aa37f" providerId="ADAL" clId="{CA02B4F7-991D-4268-BCF2-D5846F84D7C0}" dt="2024-11-25T08:43:26.125" v="4033" actId="14100"/>
        <pc:sldMkLst>
          <pc:docMk/>
          <pc:sldMk cId="3846767903" sldId="1098"/>
        </pc:sldMkLst>
        <pc:spChg chg="mod ord">
          <ac:chgData name="Christophe Lerot" userId="1ceec737-4651-43cc-8d99-be438d5aa37f" providerId="ADAL" clId="{CA02B4F7-991D-4268-BCF2-D5846F84D7C0}" dt="2024-11-25T08:37:33.449" v="3992" actId="1035"/>
          <ac:spMkLst>
            <pc:docMk/>
            <pc:sldMk cId="3846767903" sldId="1098"/>
            <ac:spMk id="2" creationId="{C3D24DEB-7FAF-088D-AAAE-251B4471FF7B}"/>
          </ac:spMkLst>
        </pc:spChg>
        <pc:spChg chg="add mod">
          <ac:chgData name="Christophe Lerot" userId="1ceec737-4651-43cc-8d99-be438d5aa37f" providerId="ADAL" clId="{CA02B4F7-991D-4268-BCF2-D5846F84D7C0}" dt="2024-11-25T08:37:24.366" v="3981" actId="164"/>
          <ac:spMkLst>
            <pc:docMk/>
            <pc:sldMk cId="3846767903" sldId="1098"/>
            <ac:spMk id="3" creationId="{307ABD12-C0F6-7124-E093-2ABDF24B1C08}"/>
          </ac:spMkLst>
        </pc:spChg>
        <pc:spChg chg="add mod">
          <ac:chgData name="Christophe Lerot" userId="1ceec737-4651-43cc-8d99-be438d5aa37f" providerId="ADAL" clId="{CA02B4F7-991D-4268-BCF2-D5846F84D7C0}" dt="2024-11-25T08:37:24.366" v="3981" actId="164"/>
          <ac:spMkLst>
            <pc:docMk/>
            <pc:sldMk cId="3846767903" sldId="1098"/>
            <ac:spMk id="4" creationId="{479D7AB4-7860-DEF9-3621-90E057FD9AD9}"/>
          </ac:spMkLst>
        </pc:spChg>
        <pc:spChg chg="add del mod">
          <ac:chgData name="Christophe Lerot" userId="1ceec737-4651-43cc-8d99-be438d5aa37f" providerId="ADAL" clId="{CA02B4F7-991D-4268-BCF2-D5846F84D7C0}" dt="2024-11-25T08:36:54.370" v="3976" actId="478"/>
          <ac:spMkLst>
            <pc:docMk/>
            <pc:sldMk cId="3846767903" sldId="1098"/>
            <ac:spMk id="7" creationId="{FCA951A6-9069-42B9-AC20-7F2465AD2CAA}"/>
          </ac:spMkLst>
        </pc:spChg>
        <pc:spChg chg="add mod">
          <ac:chgData name="Christophe Lerot" userId="1ceec737-4651-43cc-8d99-be438d5aa37f" providerId="ADAL" clId="{CA02B4F7-991D-4268-BCF2-D5846F84D7C0}" dt="2024-11-25T08:42:54.627" v="4026" actId="14100"/>
          <ac:spMkLst>
            <pc:docMk/>
            <pc:sldMk cId="3846767903" sldId="1098"/>
            <ac:spMk id="8" creationId="{FF87F620-5337-DF84-E5DB-9CEDCA83CFA8}"/>
          </ac:spMkLst>
        </pc:spChg>
        <pc:spChg chg="add mod">
          <ac:chgData name="Christophe Lerot" userId="1ceec737-4651-43cc-8d99-be438d5aa37f" providerId="ADAL" clId="{CA02B4F7-991D-4268-BCF2-D5846F84D7C0}" dt="2024-11-25T08:37:18.051" v="3980" actId="164"/>
          <ac:spMkLst>
            <pc:docMk/>
            <pc:sldMk cId="3846767903" sldId="1098"/>
            <ac:spMk id="9" creationId="{19C6414F-9A35-4889-BA71-C3D3872C8295}"/>
          </ac:spMkLst>
        </pc:spChg>
        <pc:spChg chg="add del mod">
          <ac:chgData name="Christophe Lerot" userId="1ceec737-4651-43cc-8d99-be438d5aa37f" providerId="ADAL" clId="{CA02B4F7-991D-4268-BCF2-D5846F84D7C0}" dt="2024-11-25T08:33:46.322" v="3827" actId="478"/>
          <ac:spMkLst>
            <pc:docMk/>
            <pc:sldMk cId="3846767903" sldId="1098"/>
            <ac:spMk id="12" creationId="{407BBCC1-358B-446C-6FD2-37A5F40302CC}"/>
          </ac:spMkLst>
        </pc:spChg>
        <pc:spChg chg="add del mod">
          <ac:chgData name="Christophe Lerot" userId="1ceec737-4651-43cc-8d99-be438d5aa37f" providerId="ADAL" clId="{CA02B4F7-991D-4268-BCF2-D5846F84D7C0}" dt="2024-11-25T08:36:25.865" v="3963" actId="478"/>
          <ac:spMkLst>
            <pc:docMk/>
            <pc:sldMk cId="3846767903" sldId="1098"/>
            <ac:spMk id="13" creationId="{93F92199-5010-4970-EB41-38C77A152C10}"/>
          </ac:spMkLst>
        </pc:spChg>
        <pc:spChg chg="add mod">
          <ac:chgData name="Christophe Lerot" userId="1ceec737-4651-43cc-8d99-be438d5aa37f" providerId="ADAL" clId="{CA02B4F7-991D-4268-BCF2-D5846F84D7C0}" dt="2024-11-25T08:37:18.051" v="3980" actId="164"/>
          <ac:spMkLst>
            <pc:docMk/>
            <pc:sldMk cId="3846767903" sldId="1098"/>
            <ac:spMk id="14" creationId="{1DAF3C13-02DD-8992-1385-EC8B0BDB465B}"/>
          </ac:spMkLst>
        </pc:spChg>
        <pc:spChg chg="add mod">
          <ac:chgData name="Christophe Lerot" userId="1ceec737-4651-43cc-8d99-be438d5aa37f" providerId="ADAL" clId="{CA02B4F7-991D-4268-BCF2-D5846F84D7C0}" dt="2024-11-25T08:37:09.430" v="3977" actId="164"/>
          <ac:spMkLst>
            <pc:docMk/>
            <pc:sldMk cId="3846767903" sldId="1098"/>
            <ac:spMk id="15" creationId="{E9B35492-B0D1-DB17-C714-99CD1EF62C73}"/>
          </ac:spMkLst>
        </pc:spChg>
        <pc:spChg chg="add del mod ord">
          <ac:chgData name="Christophe Lerot" userId="1ceec737-4651-43cc-8d99-be438d5aa37f" providerId="ADAL" clId="{CA02B4F7-991D-4268-BCF2-D5846F84D7C0}" dt="2024-11-25T08:25:15.003" v="3749" actId="478"/>
          <ac:spMkLst>
            <pc:docMk/>
            <pc:sldMk cId="3846767903" sldId="1098"/>
            <ac:spMk id="60" creationId="{4D3153AB-37DC-F60A-23C1-F8FE7DC8388D}"/>
          </ac:spMkLst>
        </pc:spChg>
        <pc:spChg chg="add del mod">
          <ac:chgData name="Christophe Lerot" userId="1ceec737-4651-43cc-8d99-be438d5aa37f" providerId="ADAL" clId="{CA02B4F7-991D-4268-BCF2-D5846F84D7C0}" dt="2024-11-25T08:25:15.003" v="3749" actId="478"/>
          <ac:spMkLst>
            <pc:docMk/>
            <pc:sldMk cId="3846767903" sldId="1098"/>
            <ac:spMk id="61" creationId="{44E04A9A-5EEF-6B51-5323-E47B5F925973}"/>
          </ac:spMkLst>
        </pc:spChg>
        <pc:spChg chg="add del mod">
          <ac:chgData name="Christophe Lerot" userId="1ceec737-4651-43cc-8d99-be438d5aa37f" providerId="ADAL" clId="{CA02B4F7-991D-4268-BCF2-D5846F84D7C0}" dt="2024-11-25T08:25:15.003" v="3749" actId="478"/>
          <ac:spMkLst>
            <pc:docMk/>
            <pc:sldMk cId="3846767903" sldId="1098"/>
            <ac:spMk id="62" creationId="{9B22F4CA-6B75-A795-F622-D6BDDEDBA7B5}"/>
          </ac:spMkLst>
        </pc:spChg>
        <pc:spChg chg="add del mod">
          <ac:chgData name="Christophe Lerot" userId="1ceec737-4651-43cc-8d99-be438d5aa37f" providerId="ADAL" clId="{CA02B4F7-991D-4268-BCF2-D5846F84D7C0}" dt="2024-11-25T08:25:15.003" v="3749" actId="478"/>
          <ac:spMkLst>
            <pc:docMk/>
            <pc:sldMk cId="3846767903" sldId="1098"/>
            <ac:spMk id="63" creationId="{1A062274-FDFE-8820-AED1-5B7463EB8D9A}"/>
          </ac:spMkLst>
        </pc:spChg>
        <pc:spChg chg="add del mod">
          <ac:chgData name="Christophe Lerot" userId="1ceec737-4651-43cc-8d99-be438d5aa37f" providerId="ADAL" clId="{CA02B4F7-991D-4268-BCF2-D5846F84D7C0}" dt="2024-11-25T08:25:15.003" v="3749" actId="478"/>
          <ac:spMkLst>
            <pc:docMk/>
            <pc:sldMk cId="3846767903" sldId="1098"/>
            <ac:spMk id="1024" creationId="{A6AA2E1B-1509-E2AF-4254-43B87DA00328}"/>
          </ac:spMkLst>
        </pc:spChg>
        <pc:spChg chg="add mod ord">
          <ac:chgData name="Christophe Lerot" userId="1ceec737-4651-43cc-8d99-be438d5aa37f" providerId="ADAL" clId="{CA02B4F7-991D-4268-BCF2-D5846F84D7C0}" dt="2024-11-22T11:37:28.209" v="1771" actId="700"/>
          <ac:spMkLst>
            <pc:docMk/>
            <pc:sldMk cId="3846767903" sldId="1098"/>
            <ac:spMk id="1028" creationId="{1B91138B-3585-51D5-D7A0-1738ED4CBD5D}"/>
          </ac:spMkLst>
        </pc:spChg>
        <pc:grpChg chg="add mod">
          <ac:chgData name="Christophe Lerot" userId="1ceec737-4651-43cc-8d99-be438d5aa37f" providerId="ADAL" clId="{CA02B4F7-991D-4268-BCF2-D5846F84D7C0}" dt="2024-11-25T08:42:46.733" v="4024" actId="14100"/>
          <ac:grpSpMkLst>
            <pc:docMk/>
            <pc:sldMk cId="3846767903" sldId="1098"/>
            <ac:grpSpMk id="16" creationId="{4975C433-AB3E-1772-B220-77B843A21866}"/>
          </ac:grpSpMkLst>
        </pc:grpChg>
        <pc:grpChg chg="add mod">
          <ac:chgData name="Christophe Lerot" userId="1ceec737-4651-43cc-8d99-be438d5aa37f" providerId="ADAL" clId="{CA02B4F7-991D-4268-BCF2-D5846F84D7C0}" dt="2024-11-25T08:43:23.126" v="4032" actId="14100"/>
          <ac:grpSpMkLst>
            <pc:docMk/>
            <pc:sldMk cId="3846767903" sldId="1098"/>
            <ac:grpSpMk id="17" creationId="{82D32785-5582-449F-0C8B-4AD8985AD253}"/>
          </ac:grpSpMkLst>
        </pc:grpChg>
        <pc:grpChg chg="add mod">
          <ac:chgData name="Christophe Lerot" userId="1ceec737-4651-43cc-8d99-be438d5aa37f" providerId="ADAL" clId="{CA02B4F7-991D-4268-BCF2-D5846F84D7C0}" dt="2024-11-25T08:43:26.125" v="4033" actId="14100"/>
          <ac:grpSpMkLst>
            <pc:docMk/>
            <pc:sldMk cId="3846767903" sldId="1098"/>
            <ac:grpSpMk id="18" creationId="{EFCB58D1-DA20-29C8-8B46-6A5354AB1F43}"/>
          </ac:grpSpMkLst>
        </pc:grpChg>
        <pc:picChg chg="add mod">
          <ac:chgData name="Christophe Lerot" userId="1ceec737-4651-43cc-8d99-be438d5aa37f" providerId="ADAL" clId="{CA02B4F7-991D-4268-BCF2-D5846F84D7C0}" dt="2024-11-25T08:37:24.366" v="3981" actId="164"/>
          <ac:picMkLst>
            <pc:docMk/>
            <pc:sldMk cId="3846767903" sldId="1098"/>
            <ac:picMk id="5" creationId="{9C5B46AD-94E0-5D52-E01C-82F193457EFA}"/>
          </ac:picMkLst>
        </pc:picChg>
        <pc:picChg chg="add mod">
          <ac:chgData name="Christophe Lerot" userId="1ceec737-4651-43cc-8d99-be438d5aa37f" providerId="ADAL" clId="{CA02B4F7-991D-4268-BCF2-D5846F84D7C0}" dt="2024-11-25T08:37:24.366" v="3981" actId="164"/>
          <ac:picMkLst>
            <pc:docMk/>
            <pc:sldMk cId="3846767903" sldId="1098"/>
            <ac:picMk id="6" creationId="{6F9DB65E-3C72-A7D2-B9C8-3561163EA4A6}"/>
          </ac:picMkLst>
        </pc:picChg>
        <pc:picChg chg="add mod">
          <ac:chgData name="Christophe Lerot" userId="1ceec737-4651-43cc-8d99-be438d5aa37f" providerId="ADAL" clId="{CA02B4F7-991D-4268-BCF2-D5846F84D7C0}" dt="2024-11-25T08:37:18.051" v="3980" actId="164"/>
          <ac:picMkLst>
            <pc:docMk/>
            <pc:sldMk cId="3846767903" sldId="1098"/>
            <ac:picMk id="10" creationId="{2B2F0F7D-F7B1-479D-FF2B-41F70AAED9E1}"/>
          </ac:picMkLst>
        </pc:picChg>
        <pc:picChg chg="add mod">
          <ac:chgData name="Christophe Lerot" userId="1ceec737-4651-43cc-8d99-be438d5aa37f" providerId="ADAL" clId="{CA02B4F7-991D-4268-BCF2-D5846F84D7C0}" dt="2024-11-25T08:37:09.430" v="3977" actId="164"/>
          <ac:picMkLst>
            <pc:docMk/>
            <pc:sldMk cId="3846767903" sldId="1098"/>
            <ac:picMk id="11" creationId="{6CE3BDFF-63B1-CB63-135C-241450400EC8}"/>
          </ac:picMkLst>
        </pc:picChg>
        <pc:picChg chg="add del mod">
          <ac:chgData name="Christophe Lerot" userId="1ceec737-4651-43cc-8d99-be438d5aa37f" providerId="ADAL" clId="{CA02B4F7-991D-4268-BCF2-D5846F84D7C0}" dt="2024-11-25T08:25:15.003" v="3749" actId="478"/>
          <ac:picMkLst>
            <pc:docMk/>
            <pc:sldMk cId="3846767903" sldId="1098"/>
            <ac:picMk id="45" creationId="{EFFA0009-B262-A8DE-840F-82C8A31A3849}"/>
          </ac:picMkLst>
        </pc:picChg>
        <pc:picChg chg="add mod">
          <ac:chgData name="Christophe Lerot" userId="1ceec737-4651-43cc-8d99-be438d5aa37f" providerId="ADAL" clId="{CA02B4F7-991D-4268-BCF2-D5846F84D7C0}" dt="2024-11-25T08:40:17.697" v="4012" actId="1076"/>
          <ac:picMkLst>
            <pc:docMk/>
            <pc:sldMk cId="3846767903" sldId="1098"/>
            <ac:picMk id="59" creationId="{EADCA735-9A52-DFFF-E93C-49CFCE64DFA1}"/>
          </ac:picMkLst>
        </pc:picChg>
        <pc:picChg chg="add del mod">
          <ac:chgData name="Christophe Lerot" userId="1ceec737-4651-43cc-8d99-be438d5aa37f" providerId="ADAL" clId="{CA02B4F7-991D-4268-BCF2-D5846F84D7C0}" dt="2024-11-25T08:25:15.003" v="3749" actId="478"/>
          <ac:picMkLst>
            <pc:docMk/>
            <pc:sldMk cId="3846767903" sldId="1098"/>
            <ac:picMk id="1026" creationId="{FFEAB8E6-B03B-12C4-FC58-C9E869FF737A}"/>
          </ac:picMkLst>
        </pc:picChg>
      </pc:sldChg>
      <pc:sldChg chg="del">
        <pc:chgData name="Christophe Lerot" userId="1ceec737-4651-43cc-8d99-be438d5aa37f" providerId="ADAL" clId="{CA02B4F7-991D-4268-BCF2-D5846F84D7C0}" dt="2024-11-19T13:25:28.461" v="785" actId="47"/>
        <pc:sldMkLst>
          <pc:docMk/>
          <pc:sldMk cId="2232845282" sldId="1103"/>
        </pc:sldMkLst>
      </pc:sldChg>
      <pc:sldChg chg="addSp delSp modSp mod ord modClrScheme chgLayout">
        <pc:chgData name="Christophe Lerot" userId="1ceec737-4651-43cc-8d99-be438d5aa37f" providerId="ADAL" clId="{CA02B4F7-991D-4268-BCF2-D5846F84D7C0}" dt="2024-11-25T09:08:27.459" v="4048" actId="20577"/>
        <pc:sldMkLst>
          <pc:docMk/>
          <pc:sldMk cId="4221661752" sldId="1178"/>
        </pc:sldMkLst>
        <pc:spChg chg="add del mod ord">
          <ac:chgData name="Christophe Lerot" userId="1ceec737-4651-43cc-8d99-be438d5aa37f" providerId="ADAL" clId="{CA02B4F7-991D-4268-BCF2-D5846F84D7C0}" dt="2024-11-22T14:53:21.865" v="2641" actId="478"/>
          <ac:spMkLst>
            <pc:docMk/>
            <pc:sldMk cId="4221661752" sldId="1178"/>
            <ac:spMk id="6" creationId="{3B852C67-4EC4-566A-37B1-D4AC2324C0AD}"/>
          </ac:spMkLst>
        </pc:spChg>
        <pc:spChg chg="add mod">
          <ac:chgData name="Christophe Lerot" userId="1ceec737-4651-43cc-8d99-be438d5aa37f" providerId="ADAL" clId="{CA02B4F7-991D-4268-BCF2-D5846F84D7C0}" dt="2024-11-25T09:07:57.905" v="4040" actId="20577"/>
          <ac:spMkLst>
            <pc:docMk/>
            <pc:sldMk cId="4221661752" sldId="1178"/>
            <ac:spMk id="7" creationId="{0A57B16F-767E-44DD-1102-D16262519051}"/>
          </ac:spMkLst>
        </pc:spChg>
        <pc:spChg chg="add mod">
          <ac:chgData name="Christophe Lerot" userId="1ceec737-4651-43cc-8d99-be438d5aa37f" providerId="ADAL" clId="{CA02B4F7-991D-4268-BCF2-D5846F84D7C0}" dt="2024-11-25T09:08:27.459" v="4048" actId="20577"/>
          <ac:spMkLst>
            <pc:docMk/>
            <pc:sldMk cId="4221661752" sldId="1178"/>
            <ac:spMk id="10" creationId="{3E1096D4-A2AF-DB6D-2ADB-06C5D6FB9C14}"/>
          </ac:spMkLst>
        </pc:spChg>
        <pc:spChg chg="add mod">
          <ac:chgData name="Christophe Lerot" userId="1ceec737-4651-43cc-8d99-be438d5aa37f" providerId="ADAL" clId="{CA02B4F7-991D-4268-BCF2-D5846F84D7C0}" dt="2024-11-22T15:54:30.422" v="3308" actId="1035"/>
          <ac:spMkLst>
            <pc:docMk/>
            <pc:sldMk cId="4221661752" sldId="1178"/>
            <ac:spMk id="13" creationId="{161BA802-ADA9-0FF6-37B2-1AAB2BB0D35C}"/>
          </ac:spMkLst>
        </pc:spChg>
        <pc:spChg chg="add mod">
          <ac:chgData name="Christophe Lerot" userId="1ceec737-4651-43cc-8d99-be438d5aa37f" providerId="ADAL" clId="{CA02B4F7-991D-4268-BCF2-D5846F84D7C0}" dt="2024-11-22T15:54:30.422" v="3308" actId="1035"/>
          <ac:spMkLst>
            <pc:docMk/>
            <pc:sldMk cId="4221661752" sldId="1178"/>
            <ac:spMk id="14" creationId="{510C91DF-63FE-1034-8D47-AA025412C289}"/>
          </ac:spMkLst>
        </pc:spChg>
        <pc:spChg chg="add mod">
          <ac:chgData name="Christophe Lerot" userId="1ceec737-4651-43cc-8d99-be438d5aa37f" providerId="ADAL" clId="{CA02B4F7-991D-4268-BCF2-D5846F84D7C0}" dt="2024-11-22T15:51:59.972" v="3284" actId="164"/>
          <ac:spMkLst>
            <pc:docMk/>
            <pc:sldMk cId="4221661752" sldId="1178"/>
            <ac:spMk id="34" creationId="{C560F3A3-CCA7-028F-C714-E5DC74504303}"/>
          </ac:spMkLst>
        </pc:spChg>
        <pc:spChg chg="add mod">
          <ac:chgData name="Christophe Lerot" userId="1ceec737-4651-43cc-8d99-be438d5aa37f" providerId="ADAL" clId="{CA02B4F7-991D-4268-BCF2-D5846F84D7C0}" dt="2024-11-22T15:51:59.972" v="3284" actId="164"/>
          <ac:spMkLst>
            <pc:docMk/>
            <pc:sldMk cId="4221661752" sldId="1178"/>
            <ac:spMk id="35" creationId="{E2B56323-2E0D-4FB0-00E2-8B3AD21BF887}"/>
          </ac:spMkLst>
        </pc:spChg>
        <pc:spChg chg="add mod">
          <ac:chgData name="Christophe Lerot" userId="1ceec737-4651-43cc-8d99-be438d5aa37f" providerId="ADAL" clId="{CA02B4F7-991D-4268-BCF2-D5846F84D7C0}" dt="2024-11-22T15:51:59.972" v="3284" actId="164"/>
          <ac:spMkLst>
            <pc:docMk/>
            <pc:sldMk cId="4221661752" sldId="1178"/>
            <ac:spMk id="46" creationId="{9EF120BA-EBE1-46AB-4F02-FD67D2FB103F}"/>
          </ac:spMkLst>
        </pc:spChg>
        <pc:spChg chg="add mod">
          <ac:chgData name="Christophe Lerot" userId="1ceec737-4651-43cc-8d99-be438d5aa37f" providerId="ADAL" clId="{CA02B4F7-991D-4268-BCF2-D5846F84D7C0}" dt="2024-11-22T15:56:27.867" v="3417" actId="1076"/>
          <ac:spMkLst>
            <pc:docMk/>
            <pc:sldMk cId="4221661752" sldId="1178"/>
            <ac:spMk id="52" creationId="{9075325B-ECA7-E573-DE3D-2E537DEF229B}"/>
          </ac:spMkLst>
        </pc:spChg>
        <pc:grpChg chg="add mod">
          <ac:chgData name="Christophe Lerot" userId="1ceec737-4651-43cc-8d99-be438d5aa37f" providerId="ADAL" clId="{CA02B4F7-991D-4268-BCF2-D5846F84D7C0}" dt="2024-11-22T15:52:06.069" v="3287" actId="164"/>
          <ac:grpSpMkLst>
            <pc:docMk/>
            <pc:sldMk cId="4221661752" sldId="1178"/>
            <ac:grpSpMk id="49" creationId="{25E5D0C1-6848-13DC-5D69-6C1145C0A119}"/>
          </ac:grpSpMkLst>
        </pc:grpChg>
        <pc:grpChg chg="add mod">
          <ac:chgData name="Christophe Lerot" userId="1ceec737-4651-43cc-8d99-be438d5aa37f" providerId="ADAL" clId="{CA02B4F7-991D-4268-BCF2-D5846F84D7C0}" dt="2024-11-22T15:54:21.877" v="3300" actId="1076"/>
          <ac:grpSpMkLst>
            <pc:docMk/>
            <pc:sldMk cId="4221661752" sldId="1178"/>
            <ac:grpSpMk id="50" creationId="{819B5E04-67B4-370D-EFB4-B23920D09AB1}"/>
          </ac:grpSpMkLst>
        </pc:grpChg>
        <pc:picChg chg="add mod">
          <ac:chgData name="Christophe Lerot" userId="1ceec737-4651-43cc-8d99-be438d5aa37f" providerId="ADAL" clId="{CA02B4F7-991D-4268-BCF2-D5846F84D7C0}" dt="2024-11-22T15:51:59.972" v="3284" actId="164"/>
          <ac:picMkLst>
            <pc:docMk/>
            <pc:sldMk cId="4221661752" sldId="1178"/>
            <ac:picMk id="15" creationId="{ABE6CD2D-BCA0-2DDA-5673-2D4B0E358FCD}"/>
          </ac:picMkLst>
        </pc:picChg>
        <pc:picChg chg="add mod">
          <ac:chgData name="Christophe Lerot" userId="1ceec737-4651-43cc-8d99-be438d5aa37f" providerId="ADAL" clId="{CA02B4F7-991D-4268-BCF2-D5846F84D7C0}" dt="2024-11-22T15:52:06.069" v="3287" actId="164"/>
          <ac:picMkLst>
            <pc:docMk/>
            <pc:sldMk cId="4221661752" sldId="1178"/>
            <ac:picMk id="16" creationId="{E75563CA-2478-788C-E536-477B857319AE}"/>
          </ac:picMkLst>
        </pc:picChg>
        <pc:picChg chg="add mod">
          <ac:chgData name="Christophe Lerot" userId="1ceec737-4651-43cc-8d99-be438d5aa37f" providerId="ADAL" clId="{CA02B4F7-991D-4268-BCF2-D5846F84D7C0}" dt="2024-11-22T15:51:59.972" v="3284" actId="164"/>
          <ac:picMkLst>
            <pc:docMk/>
            <pc:sldMk cId="4221661752" sldId="1178"/>
            <ac:picMk id="17" creationId="{342087E4-38F1-0C8A-28D5-49D1FD2A88DF}"/>
          </ac:picMkLst>
        </pc:picChg>
        <pc:cxnChg chg="add mod">
          <ac:chgData name="Christophe Lerot" userId="1ceec737-4651-43cc-8d99-be438d5aa37f" providerId="ADAL" clId="{CA02B4F7-991D-4268-BCF2-D5846F84D7C0}" dt="2024-11-22T15:51:59.972" v="3284" actId="164"/>
          <ac:cxnSpMkLst>
            <pc:docMk/>
            <pc:sldMk cId="4221661752" sldId="1178"/>
            <ac:cxnSpMk id="18" creationId="{76EA41BB-4C02-B784-405C-724741996AE3}"/>
          </ac:cxnSpMkLst>
        </pc:cxnChg>
        <pc:cxnChg chg="add mod">
          <ac:chgData name="Christophe Lerot" userId="1ceec737-4651-43cc-8d99-be438d5aa37f" providerId="ADAL" clId="{CA02B4F7-991D-4268-BCF2-D5846F84D7C0}" dt="2024-11-22T15:51:59.972" v="3284" actId="164"/>
          <ac:cxnSpMkLst>
            <pc:docMk/>
            <pc:sldMk cId="4221661752" sldId="1178"/>
            <ac:cxnSpMk id="19" creationId="{4AF201D8-D2C9-4F9D-D987-613054CC3360}"/>
          </ac:cxnSpMkLst>
        </pc:cxnChg>
      </pc:sldChg>
      <pc:sldChg chg="addSp delSp modSp mod modClrScheme chgLayout">
        <pc:chgData name="Christophe Lerot" userId="1ceec737-4651-43cc-8d99-be438d5aa37f" providerId="ADAL" clId="{CA02B4F7-991D-4268-BCF2-D5846F84D7C0}" dt="2024-11-22T13:37:31.307" v="1984" actId="1037"/>
        <pc:sldMkLst>
          <pc:docMk/>
          <pc:sldMk cId="3754321163" sldId="2147473089"/>
        </pc:sldMkLst>
        <pc:spChg chg="add mod ord">
          <ac:chgData name="Christophe Lerot" userId="1ceec737-4651-43cc-8d99-be438d5aa37f" providerId="ADAL" clId="{CA02B4F7-991D-4268-BCF2-D5846F84D7C0}" dt="2024-11-22T11:42:49.024" v="1857" actId="1036"/>
          <ac:spMkLst>
            <pc:docMk/>
            <pc:sldMk cId="3754321163" sldId="2147473089"/>
            <ac:spMk id="3" creationId="{573CFB3A-641A-F9E9-1F0A-515FD24E29C5}"/>
          </ac:spMkLst>
        </pc:spChg>
        <pc:spChg chg="mod">
          <ac:chgData name="Christophe Lerot" userId="1ceec737-4651-43cc-8d99-be438d5aa37f" providerId="ADAL" clId="{CA02B4F7-991D-4268-BCF2-D5846F84D7C0}" dt="2024-11-22T11:42:40.881" v="1823" actId="1035"/>
          <ac:spMkLst>
            <pc:docMk/>
            <pc:sldMk cId="3754321163" sldId="2147473089"/>
            <ac:spMk id="7" creationId="{0E10EE77-2BDA-386B-6943-40AEE891C225}"/>
          </ac:spMkLst>
        </pc:spChg>
        <pc:spChg chg="mod">
          <ac:chgData name="Christophe Lerot" userId="1ceec737-4651-43cc-8d99-be438d5aa37f" providerId="ADAL" clId="{CA02B4F7-991D-4268-BCF2-D5846F84D7C0}" dt="2024-11-22T11:42:40.881" v="1823" actId="1035"/>
          <ac:spMkLst>
            <pc:docMk/>
            <pc:sldMk cId="3754321163" sldId="2147473089"/>
            <ac:spMk id="8" creationId="{C775B6DC-0650-8A94-4ECE-0520DBAA9084}"/>
          </ac:spMkLst>
        </pc:spChg>
        <pc:spChg chg="mod">
          <ac:chgData name="Christophe Lerot" userId="1ceec737-4651-43cc-8d99-be438d5aa37f" providerId="ADAL" clId="{CA02B4F7-991D-4268-BCF2-D5846F84D7C0}" dt="2024-11-22T11:42:40.881" v="1823" actId="1035"/>
          <ac:spMkLst>
            <pc:docMk/>
            <pc:sldMk cId="3754321163" sldId="2147473089"/>
            <ac:spMk id="9" creationId="{9E2B6E84-E03E-F96E-997E-2F342AD7CEC6}"/>
          </ac:spMkLst>
        </pc:spChg>
        <pc:spChg chg="mod">
          <ac:chgData name="Christophe Lerot" userId="1ceec737-4651-43cc-8d99-be438d5aa37f" providerId="ADAL" clId="{CA02B4F7-991D-4268-BCF2-D5846F84D7C0}" dt="2024-11-22T11:42:40.881" v="1823" actId="1035"/>
          <ac:spMkLst>
            <pc:docMk/>
            <pc:sldMk cId="3754321163" sldId="2147473089"/>
            <ac:spMk id="10" creationId="{6B9699F0-2CFA-32F1-C64E-EB4BCB9F0C05}"/>
          </ac:spMkLst>
        </pc:spChg>
        <pc:spChg chg="mod">
          <ac:chgData name="Christophe Lerot" userId="1ceec737-4651-43cc-8d99-be438d5aa37f" providerId="ADAL" clId="{CA02B4F7-991D-4268-BCF2-D5846F84D7C0}" dt="2024-11-22T11:42:40.881" v="1823" actId="1035"/>
          <ac:spMkLst>
            <pc:docMk/>
            <pc:sldMk cId="3754321163" sldId="2147473089"/>
            <ac:spMk id="11" creationId="{4CC98EAC-0FC1-B5C9-4E66-687B099DF73D}"/>
          </ac:spMkLst>
        </pc:spChg>
        <pc:spChg chg="mod">
          <ac:chgData name="Christophe Lerot" userId="1ceec737-4651-43cc-8d99-be438d5aa37f" providerId="ADAL" clId="{CA02B4F7-991D-4268-BCF2-D5846F84D7C0}" dt="2024-11-22T11:42:40.881" v="1823" actId="1035"/>
          <ac:spMkLst>
            <pc:docMk/>
            <pc:sldMk cId="3754321163" sldId="2147473089"/>
            <ac:spMk id="12" creationId="{499A7DD1-2C85-0D99-965F-FA4C1437D2BB}"/>
          </ac:spMkLst>
        </pc:spChg>
        <pc:spChg chg="add mod">
          <ac:chgData name="Christophe Lerot" userId="1ceec737-4651-43cc-8d99-be438d5aa37f" providerId="ADAL" clId="{CA02B4F7-991D-4268-BCF2-D5846F84D7C0}" dt="2024-11-22T13:37:31.307" v="1984" actId="1037"/>
          <ac:spMkLst>
            <pc:docMk/>
            <pc:sldMk cId="3754321163" sldId="2147473089"/>
            <ac:spMk id="15" creationId="{8703223D-57B3-731E-90F3-55EB6EFA8706}"/>
          </ac:spMkLst>
        </pc:spChg>
        <pc:spChg chg="mod">
          <ac:chgData name="Christophe Lerot" userId="1ceec737-4651-43cc-8d99-be438d5aa37f" providerId="ADAL" clId="{CA02B4F7-991D-4268-BCF2-D5846F84D7C0}" dt="2024-11-22T11:42:40.881" v="1823" actId="1035"/>
          <ac:spMkLst>
            <pc:docMk/>
            <pc:sldMk cId="3754321163" sldId="2147473089"/>
            <ac:spMk id="21" creationId="{93CF181F-1B3D-7D44-6111-5FC3CCE6066A}"/>
          </ac:spMkLst>
        </pc:spChg>
        <pc:picChg chg="mod">
          <ac:chgData name="Christophe Lerot" userId="1ceec737-4651-43cc-8d99-be438d5aa37f" providerId="ADAL" clId="{CA02B4F7-991D-4268-BCF2-D5846F84D7C0}" dt="2024-11-22T11:42:40.881" v="1823" actId="1035"/>
          <ac:picMkLst>
            <pc:docMk/>
            <pc:sldMk cId="3754321163" sldId="2147473089"/>
            <ac:picMk id="6" creationId="{7B7C7213-AE53-4BCD-23C3-7387F2E2D01B}"/>
          </ac:picMkLst>
        </pc:picChg>
        <pc:picChg chg="mod">
          <ac:chgData name="Christophe Lerot" userId="1ceec737-4651-43cc-8d99-be438d5aa37f" providerId="ADAL" clId="{CA02B4F7-991D-4268-BCF2-D5846F84D7C0}" dt="2024-11-22T11:42:40.881" v="1823" actId="1035"/>
          <ac:picMkLst>
            <pc:docMk/>
            <pc:sldMk cId="3754321163" sldId="2147473089"/>
            <ac:picMk id="17" creationId="{86588606-97D1-FE0C-C0A0-B030178FEDE5}"/>
          </ac:picMkLst>
        </pc:picChg>
        <pc:picChg chg="mod">
          <ac:chgData name="Christophe Lerot" userId="1ceec737-4651-43cc-8d99-be438d5aa37f" providerId="ADAL" clId="{CA02B4F7-991D-4268-BCF2-D5846F84D7C0}" dt="2024-11-22T11:42:40.881" v="1823" actId="1035"/>
          <ac:picMkLst>
            <pc:docMk/>
            <pc:sldMk cId="3754321163" sldId="2147473089"/>
            <ac:picMk id="18" creationId="{82E4FBB8-6B9E-776B-22F2-C2392B11721F}"/>
          </ac:picMkLst>
        </pc:picChg>
        <pc:picChg chg="mod">
          <ac:chgData name="Christophe Lerot" userId="1ceec737-4651-43cc-8d99-be438d5aa37f" providerId="ADAL" clId="{CA02B4F7-991D-4268-BCF2-D5846F84D7C0}" dt="2024-11-22T11:42:40.881" v="1823" actId="1035"/>
          <ac:picMkLst>
            <pc:docMk/>
            <pc:sldMk cId="3754321163" sldId="2147473089"/>
            <ac:picMk id="19" creationId="{61F9EE65-F0E6-BC9F-6C8F-F5C6547F4258}"/>
          </ac:picMkLst>
        </pc:picChg>
        <pc:picChg chg="mod">
          <ac:chgData name="Christophe Lerot" userId="1ceec737-4651-43cc-8d99-be438d5aa37f" providerId="ADAL" clId="{CA02B4F7-991D-4268-BCF2-D5846F84D7C0}" dt="2024-11-22T11:42:40.881" v="1823" actId="1035"/>
          <ac:picMkLst>
            <pc:docMk/>
            <pc:sldMk cId="3754321163" sldId="2147473089"/>
            <ac:picMk id="20" creationId="{E5608889-0BEA-2543-0940-8CA2FD7B4E9B}"/>
          </ac:picMkLst>
        </pc:picChg>
        <pc:picChg chg="mod">
          <ac:chgData name="Christophe Lerot" userId="1ceec737-4651-43cc-8d99-be438d5aa37f" providerId="ADAL" clId="{CA02B4F7-991D-4268-BCF2-D5846F84D7C0}" dt="2024-11-22T11:42:40.881" v="1823" actId="1035"/>
          <ac:picMkLst>
            <pc:docMk/>
            <pc:sldMk cId="3754321163" sldId="2147473089"/>
            <ac:picMk id="22" creationId="{9C1202C3-3F76-72D7-1FC8-2DE41CDBE4BE}"/>
          </ac:picMkLst>
        </pc:picChg>
      </pc:sldChg>
      <pc:sldChg chg="addSp delSp modSp mod modClrScheme chgLayout">
        <pc:chgData name="Christophe Lerot" userId="1ceec737-4651-43cc-8d99-be438d5aa37f" providerId="ADAL" clId="{CA02B4F7-991D-4268-BCF2-D5846F84D7C0}" dt="2024-11-25T08:17:26.429" v="3668" actId="108"/>
        <pc:sldMkLst>
          <pc:docMk/>
          <pc:sldMk cId="1545877880" sldId="2147473090"/>
        </pc:sldMkLst>
        <pc:spChg chg="add mod ord">
          <ac:chgData name="Christophe Lerot" userId="1ceec737-4651-43cc-8d99-be438d5aa37f" providerId="ADAL" clId="{CA02B4F7-991D-4268-BCF2-D5846F84D7C0}" dt="2024-11-22T11:41:52.067" v="1796" actId="700"/>
          <ac:spMkLst>
            <pc:docMk/>
            <pc:sldMk cId="1545877880" sldId="2147473090"/>
            <ac:spMk id="3" creationId="{52C157C5-1307-8120-24A0-6C5D52FADE21}"/>
          </ac:spMkLst>
        </pc:spChg>
        <pc:spChg chg="add mod">
          <ac:chgData name="Christophe Lerot" userId="1ceec737-4651-43cc-8d99-be438d5aa37f" providerId="ADAL" clId="{CA02B4F7-991D-4268-BCF2-D5846F84D7C0}" dt="2024-11-22T13:36:42.910" v="1937" actId="1036"/>
          <ac:spMkLst>
            <pc:docMk/>
            <pc:sldMk cId="1545877880" sldId="2147473090"/>
            <ac:spMk id="4" creationId="{A45EC325-3E8A-65EC-3D41-C23F43639D5E}"/>
          </ac:spMkLst>
        </pc:spChg>
        <pc:spChg chg="add mod">
          <ac:chgData name="Christophe Lerot" userId="1ceec737-4651-43cc-8d99-be438d5aa37f" providerId="ADAL" clId="{CA02B4F7-991D-4268-BCF2-D5846F84D7C0}" dt="2024-11-25T08:17:26.429" v="3668" actId="108"/>
          <ac:spMkLst>
            <pc:docMk/>
            <pc:sldMk cId="1545877880" sldId="2147473090"/>
            <ac:spMk id="8" creationId="{F45B6EC8-72BD-2C8B-0278-5B0EDE670E66}"/>
          </ac:spMkLst>
        </pc:spChg>
        <pc:grpChg chg="add mod">
          <ac:chgData name="Christophe Lerot" userId="1ceec737-4651-43cc-8d99-be438d5aa37f" providerId="ADAL" clId="{CA02B4F7-991D-4268-BCF2-D5846F84D7C0}" dt="2024-11-22T16:14:06.575" v="3659" actId="1076"/>
          <ac:grpSpMkLst>
            <pc:docMk/>
            <pc:sldMk cId="1545877880" sldId="2147473090"/>
            <ac:grpSpMk id="7" creationId="{4F5CB0FA-1666-D088-BE07-77B8DF8A0F0E}"/>
          </ac:grpSpMkLst>
        </pc:grpChg>
        <pc:picChg chg="mod">
          <ac:chgData name="Christophe Lerot" userId="1ceec737-4651-43cc-8d99-be438d5aa37f" providerId="ADAL" clId="{CA02B4F7-991D-4268-BCF2-D5846F84D7C0}" dt="2024-11-22T13:36:42.910" v="1937" actId="1036"/>
          <ac:picMkLst>
            <pc:docMk/>
            <pc:sldMk cId="1545877880" sldId="2147473090"/>
            <ac:picMk id="5" creationId="{FCB1C3BA-CF65-3C2E-14BE-CF34CD95F0A9}"/>
          </ac:picMkLst>
        </pc:picChg>
      </pc:sldChg>
      <pc:sldChg chg="addSp delSp modSp new mod setBg modClrScheme chgLayout">
        <pc:chgData name="Christophe Lerot" userId="1ceec737-4651-43cc-8d99-be438d5aa37f" providerId="ADAL" clId="{CA02B4F7-991D-4268-BCF2-D5846F84D7C0}" dt="2024-11-22T14:55:53.435" v="2648"/>
        <pc:sldMkLst>
          <pc:docMk/>
          <pc:sldMk cId="2293015315" sldId="2147473091"/>
        </pc:sldMkLst>
        <pc:spChg chg="mod ord">
          <ac:chgData name="Christophe Lerot" userId="1ceec737-4651-43cc-8d99-be438d5aa37f" providerId="ADAL" clId="{CA02B4F7-991D-4268-BCF2-D5846F84D7C0}" dt="2024-11-22T14:55:53.435" v="2648"/>
          <ac:spMkLst>
            <pc:docMk/>
            <pc:sldMk cId="2293015315" sldId="2147473091"/>
            <ac:spMk id="2" creationId="{4CF0E333-DAA7-624B-FE60-157E9C0ABD08}"/>
          </ac:spMkLst>
        </pc:spChg>
        <pc:spChg chg="add del mod">
          <ac:chgData name="Christophe Lerot" userId="1ceec737-4651-43cc-8d99-be438d5aa37f" providerId="ADAL" clId="{CA02B4F7-991D-4268-BCF2-D5846F84D7C0}" dt="2024-11-19T12:42:10.883" v="425" actId="20577"/>
          <ac:spMkLst>
            <pc:docMk/>
            <pc:sldMk cId="2293015315" sldId="2147473091"/>
            <ac:spMk id="3" creationId="{6399A69E-2C25-E951-498C-9EE50790E1B3}"/>
          </ac:spMkLst>
        </pc:spChg>
        <pc:spChg chg="mod ord topLvl">
          <ac:chgData name="Christophe Lerot" userId="1ceec737-4651-43cc-8d99-be438d5aa37f" providerId="ADAL" clId="{CA02B4F7-991D-4268-BCF2-D5846F84D7C0}" dt="2024-11-19T12:39:25.511" v="334" actId="14100"/>
          <ac:spMkLst>
            <pc:docMk/>
            <pc:sldMk cId="2293015315" sldId="2147473091"/>
            <ac:spMk id="18" creationId="{72CF1021-9152-0194-9A75-C8BFA86E6BA9}"/>
          </ac:spMkLst>
        </pc:spChg>
        <pc:spChg chg="add mod">
          <ac:chgData name="Christophe Lerot" userId="1ceec737-4651-43cc-8d99-be438d5aa37f" providerId="ADAL" clId="{CA02B4F7-991D-4268-BCF2-D5846F84D7C0}" dt="2024-11-19T12:42:04.703" v="424" actId="1036"/>
          <ac:spMkLst>
            <pc:docMk/>
            <pc:sldMk cId="2293015315" sldId="2147473091"/>
            <ac:spMk id="19" creationId="{6EAAC734-0FFC-6A6B-1397-0817626EDCA6}"/>
          </ac:spMkLst>
        </pc:spChg>
        <pc:spChg chg="add mod">
          <ac:chgData name="Christophe Lerot" userId="1ceec737-4651-43cc-8d99-be438d5aa37f" providerId="ADAL" clId="{CA02B4F7-991D-4268-BCF2-D5846F84D7C0}" dt="2024-11-19T12:42:48.129" v="443" actId="1076"/>
          <ac:spMkLst>
            <pc:docMk/>
            <pc:sldMk cId="2293015315" sldId="2147473091"/>
            <ac:spMk id="20" creationId="{00E2D0A3-0081-5192-3298-DD0CCDB024A8}"/>
          </ac:spMkLst>
        </pc:spChg>
        <pc:spChg chg="add del mod ord">
          <ac:chgData name="Christophe Lerot" userId="1ceec737-4651-43cc-8d99-be438d5aa37f" providerId="ADAL" clId="{CA02B4F7-991D-4268-BCF2-D5846F84D7C0}" dt="2024-11-19T13:32:39.723" v="831" actId="1036"/>
          <ac:spMkLst>
            <pc:docMk/>
            <pc:sldMk cId="2293015315" sldId="2147473091"/>
            <ac:spMk id="25" creationId="{6AEBE027-770D-04F8-19B3-6AF334175348}"/>
          </ac:spMkLst>
        </pc:spChg>
        <pc:picChg chg="add mod">
          <ac:chgData name="Christophe Lerot" userId="1ceec737-4651-43cc-8d99-be438d5aa37f" providerId="ADAL" clId="{CA02B4F7-991D-4268-BCF2-D5846F84D7C0}" dt="2024-11-19T12:33:15.321" v="268" actId="1076"/>
          <ac:picMkLst>
            <pc:docMk/>
            <pc:sldMk cId="2293015315" sldId="2147473091"/>
            <ac:picMk id="5" creationId="{BC2D1C62-F37E-DCFB-1816-13283FD36CD4}"/>
          </ac:picMkLst>
        </pc:picChg>
        <pc:picChg chg="add mod">
          <ac:chgData name="Christophe Lerot" userId="1ceec737-4651-43cc-8d99-be438d5aa37f" providerId="ADAL" clId="{CA02B4F7-991D-4268-BCF2-D5846F84D7C0}" dt="2024-11-19T12:42:04.703" v="424" actId="1036"/>
          <ac:picMkLst>
            <pc:docMk/>
            <pc:sldMk cId="2293015315" sldId="2147473091"/>
            <ac:picMk id="7" creationId="{F77224D8-68D4-5D91-BB08-EC56993CB9FF}"/>
          </ac:picMkLst>
        </pc:picChg>
        <pc:picChg chg="add mod">
          <ac:chgData name="Christophe Lerot" userId="1ceec737-4651-43cc-8d99-be438d5aa37f" providerId="ADAL" clId="{CA02B4F7-991D-4268-BCF2-D5846F84D7C0}" dt="2024-11-19T12:42:52.068" v="444" actId="1076"/>
          <ac:picMkLst>
            <pc:docMk/>
            <pc:sldMk cId="2293015315" sldId="2147473091"/>
            <ac:picMk id="11" creationId="{01251ED7-AB35-6C9B-FFAB-B215E76B4ADB}"/>
          </ac:picMkLst>
        </pc:picChg>
      </pc:sldChg>
      <pc:sldChg chg="addSp delSp modSp add del mod chgLayout modNotesTx">
        <pc:chgData name="Christophe Lerot" userId="1ceec737-4651-43cc-8d99-be438d5aa37f" providerId="ADAL" clId="{CA02B4F7-991D-4268-BCF2-D5846F84D7C0}" dt="2024-11-25T08:43:32.255" v="4034" actId="47"/>
        <pc:sldMkLst>
          <pc:docMk/>
          <pc:sldMk cId="833995769" sldId="2147473092"/>
        </pc:sldMkLst>
      </pc:sldChg>
      <pc:sldChg chg="add del setBg">
        <pc:chgData name="Christophe Lerot" userId="1ceec737-4651-43cc-8d99-be438d5aa37f" providerId="ADAL" clId="{CA02B4F7-991D-4268-BCF2-D5846F84D7C0}" dt="2024-11-22T09:33:30.975" v="1052"/>
        <pc:sldMkLst>
          <pc:docMk/>
          <pc:sldMk cId="2275609849" sldId="2147473092"/>
        </pc:sldMkLst>
      </pc:sldChg>
      <pc:sldChg chg="add del setBg">
        <pc:chgData name="Christophe Lerot" userId="1ceec737-4651-43cc-8d99-be438d5aa37f" providerId="ADAL" clId="{CA02B4F7-991D-4268-BCF2-D5846F84D7C0}" dt="2024-11-19T13:11:47.421" v="536" actId="47"/>
        <pc:sldMkLst>
          <pc:docMk/>
          <pc:sldMk cId="3609967805" sldId="2147473092"/>
        </pc:sldMkLst>
      </pc:sldChg>
      <pc:sldChg chg="addSp delSp modSp add mod ord setBg modClrScheme chgLayout">
        <pc:chgData name="Christophe Lerot" userId="1ceec737-4651-43cc-8d99-be438d5aa37f" providerId="ADAL" clId="{CA02B4F7-991D-4268-BCF2-D5846F84D7C0}" dt="2024-11-25T08:44:25.629" v="4036" actId="1076"/>
        <pc:sldMkLst>
          <pc:docMk/>
          <pc:sldMk cId="3598046251" sldId="2147473093"/>
        </pc:sldMkLst>
        <pc:spChg chg="mod ord">
          <ac:chgData name="Christophe Lerot" userId="1ceec737-4651-43cc-8d99-be438d5aa37f" providerId="ADAL" clId="{CA02B4F7-991D-4268-BCF2-D5846F84D7C0}" dt="2024-11-22T14:55:53.435" v="2648"/>
          <ac:spMkLst>
            <pc:docMk/>
            <pc:sldMk cId="3598046251" sldId="2147473093"/>
            <ac:spMk id="2" creationId="{F85BDA93-2214-FF7C-0F80-EF551169C700}"/>
          </ac:spMkLst>
        </pc:spChg>
        <pc:spChg chg="add mod">
          <ac:chgData name="Christophe Lerot" userId="1ceec737-4651-43cc-8d99-be438d5aa37f" providerId="ADAL" clId="{CA02B4F7-991D-4268-BCF2-D5846F84D7C0}" dt="2024-11-25T08:44:25.629" v="4036" actId="1076"/>
          <ac:spMkLst>
            <pc:docMk/>
            <pc:sldMk cId="3598046251" sldId="2147473093"/>
            <ac:spMk id="11" creationId="{0D440B22-E884-0E42-B18B-149A491FF157}"/>
          </ac:spMkLst>
        </pc:spChg>
        <pc:spChg chg="add mod">
          <ac:chgData name="Christophe Lerot" userId="1ceec737-4651-43cc-8d99-be438d5aa37f" providerId="ADAL" clId="{CA02B4F7-991D-4268-BCF2-D5846F84D7C0}" dt="2024-11-22T11:28:50.616" v="1569" actId="1036"/>
          <ac:spMkLst>
            <pc:docMk/>
            <pc:sldMk cId="3598046251" sldId="2147473093"/>
            <ac:spMk id="19" creationId="{14F3932B-53A7-9124-5C20-C55892DF7DB2}"/>
          </ac:spMkLst>
        </pc:spChg>
        <pc:spChg chg="add mod">
          <ac:chgData name="Christophe Lerot" userId="1ceec737-4651-43cc-8d99-be438d5aa37f" providerId="ADAL" clId="{CA02B4F7-991D-4268-BCF2-D5846F84D7C0}" dt="2024-11-22T11:32:13.118" v="1752" actId="1076"/>
          <ac:spMkLst>
            <pc:docMk/>
            <pc:sldMk cId="3598046251" sldId="2147473093"/>
            <ac:spMk id="20" creationId="{3E9C4342-F006-C0FC-F864-22C2BC14A656}"/>
          </ac:spMkLst>
        </pc:spChg>
        <pc:spChg chg="add del mod ord">
          <ac:chgData name="Christophe Lerot" userId="1ceec737-4651-43cc-8d99-be438d5aa37f" providerId="ADAL" clId="{CA02B4F7-991D-4268-BCF2-D5846F84D7C0}" dt="2024-11-22T11:39:06.834" v="1779" actId="700"/>
          <ac:spMkLst>
            <pc:docMk/>
            <pc:sldMk cId="3598046251" sldId="2147473093"/>
            <ac:spMk id="21" creationId="{387E899D-33BC-37CF-9FC8-7EA0737FC0ED}"/>
          </ac:spMkLst>
        </pc:spChg>
        <pc:picChg chg="add mod">
          <ac:chgData name="Christophe Lerot" userId="1ceec737-4651-43cc-8d99-be438d5aa37f" providerId="ADAL" clId="{CA02B4F7-991D-4268-BCF2-D5846F84D7C0}" dt="2024-11-22T11:28:59.656" v="1573" actId="1076"/>
          <ac:picMkLst>
            <pc:docMk/>
            <pc:sldMk cId="3598046251" sldId="2147473093"/>
            <ac:picMk id="12" creationId="{8CB8A4C5-0E39-B560-326E-84CDD7DB0C88}"/>
          </ac:picMkLst>
        </pc:picChg>
        <pc:picChg chg="add mod">
          <ac:chgData name="Christophe Lerot" userId="1ceec737-4651-43cc-8d99-be438d5aa37f" providerId="ADAL" clId="{CA02B4F7-991D-4268-BCF2-D5846F84D7C0}" dt="2024-11-22T11:01:27.636" v="1480" actId="1076"/>
          <ac:picMkLst>
            <pc:docMk/>
            <pc:sldMk cId="3598046251" sldId="2147473093"/>
            <ac:picMk id="13" creationId="{3A1A7FD7-F2AB-4963-D5B5-753C4A539769}"/>
          </ac:picMkLst>
        </pc:picChg>
        <pc:picChg chg="add mod">
          <ac:chgData name="Christophe Lerot" userId="1ceec737-4651-43cc-8d99-be438d5aa37f" providerId="ADAL" clId="{CA02B4F7-991D-4268-BCF2-D5846F84D7C0}" dt="2024-11-22T11:28:46.831" v="1566" actId="1076"/>
          <ac:picMkLst>
            <pc:docMk/>
            <pc:sldMk cId="3598046251" sldId="2147473093"/>
            <ac:picMk id="16" creationId="{9D0E6180-A1CF-340D-76BE-3C0471CF93CC}"/>
          </ac:picMkLst>
        </pc:picChg>
      </pc:sldChg>
      <pc:sldChg chg="addSp modSp new mod">
        <pc:chgData name="Christophe Lerot" userId="1ceec737-4651-43cc-8d99-be438d5aa37f" providerId="ADAL" clId="{CA02B4F7-991D-4268-BCF2-D5846F84D7C0}" dt="2024-11-25T08:17:33.322" v="3669" actId="207"/>
        <pc:sldMkLst>
          <pc:docMk/>
          <pc:sldMk cId="1788230211" sldId="2147473094"/>
        </pc:sldMkLst>
        <pc:spChg chg="mod">
          <ac:chgData name="Christophe Lerot" userId="1ceec737-4651-43cc-8d99-be438d5aa37f" providerId="ADAL" clId="{CA02B4F7-991D-4268-BCF2-D5846F84D7C0}" dt="2024-11-25T08:17:33.322" v="3669" actId="207"/>
          <ac:spMkLst>
            <pc:docMk/>
            <pc:sldMk cId="1788230211" sldId="2147473094"/>
            <ac:spMk id="2" creationId="{AF36001F-4F3A-F54C-155C-36380D97AF8B}"/>
          </ac:spMkLst>
        </pc:spChg>
        <pc:spChg chg="add mod">
          <ac:chgData name="Christophe Lerot" userId="1ceec737-4651-43cc-8d99-be438d5aa37f" providerId="ADAL" clId="{CA02B4F7-991D-4268-BCF2-D5846F84D7C0}" dt="2024-11-22T14:01:21.936" v="2289" actId="1037"/>
          <ac:spMkLst>
            <pc:docMk/>
            <pc:sldMk cId="1788230211" sldId="2147473094"/>
            <ac:spMk id="5" creationId="{E9847777-30AD-7F6B-A960-8F04088986E6}"/>
          </ac:spMkLst>
        </pc:spChg>
        <pc:picChg chg="add mod">
          <ac:chgData name="Christophe Lerot" userId="1ceec737-4651-43cc-8d99-be438d5aa37f" providerId="ADAL" clId="{CA02B4F7-991D-4268-BCF2-D5846F84D7C0}" dt="2024-11-22T13:49:49.815" v="2025" actId="14100"/>
          <ac:picMkLst>
            <pc:docMk/>
            <pc:sldMk cId="1788230211" sldId="2147473094"/>
            <ac:picMk id="6" creationId="{49414519-DD2F-27EC-19C4-FA9E1128DCDC}"/>
          </ac:picMkLst>
        </pc:picChg>
      </pc:sldChg>
      <pc:sldChg chg="addSp delSp modSp add mod">
        <pc:chgData name="Christophe Lerot" userId="1ceec737-4651-43cc-8d99-be438d5aa37f" providerId="ADAL" clId="{CA02B4F7-991D-4268-BCF2-D5846F84D7C0}" dt="2024-11-25T08:17:40.079" v="3670" actId="207"/>
        <pc:sldMkLst>
          <pc:docMk/>
          <pc:sldMk cId="636709181" sldId="2147473095"/>
        </pc:sldMkLst>
        <pc:spChg chg="mod">
          <ac:chgData name="Christophe Lerot" userId="1ceec737-4651-43cc-8d99-be438d5aa37f" providerId="ADAL" clId="{CA02B4F7-991D-4268-BCF2-D5846F84D7C0}" dt="2024-11-25T08:17:40.079" v="3670" actId="207"/>
          <ac:spMkLst>
            <pc:docMk/>
            <pc:sldMk cId="636709181" sldId="2147473095"/>
            <ac:spMk id="2" creationId="{C3410FD0-AB03-D70A-E405-5FB7C1730D9F}"/>
          </ac:spMkLst>
        </pc:spChg>
        <pc:spChg chg="add del">
          <ac:chgData name="Christophe Lerot" userId="1ceec737-4651-43cc-8d99-be438d5aa37f" providerId="ADAL" clId="{CA02B4F7-991D-4268-BCF2-D5846F84D7C0}" dt="2024-11-22T14:54:14.490" v="2644" actId="478"/>
          <ac:spMkLst>
            <pc:docMk/>
            <pc:sldMk cId="636709181" sldId="2147473095"/>
            <ac:spMk id="3" creationId="{4F8A8B1A-76B4-15C0-07EA-6BB0A72F560E}"/>
          </ac:spMkLst>
        </pc:spChg>
        <pc:spChg chg="add mod">
          <ac:chgData name="Christophe Lerot" userId="1ceec737-4651-43cc-8d99-be438d5aa37f" providerId="ADAL" clId="{CA02B4F7-991D-4268-BCF2-D5846F84D7C0}" dt="2024-11-22T14:15:10.785" v="2607" actId="1036"/>
          <ac:spMkLst>
            <pc:docMk/>
            <pc:sldMk cId="636709181" sldId="2147473095"/>
            <ac:spMk id="7" creationId="{39625DC7-290B-3AA9-E303-314206597CFD}"/>
          </ac:spMkLst>
        </pc:spChg>
        <pc:spChg chg="add mod">
          <ac:chgData name="Christophe Lerot" userId="1ceec737-4651-43cc-8d99-be438d5aa37f" providerId="ADAL" clId="{CA02B4F7-991D-4268-BCF2-D5846F84D7C0}" dt="2024-11-22T14:12:26.362" v="2458" actId="207"/>
          <ac:spMkLst>
            <pc:docMk/>
            <pc:sldMk cId="636709181" sldId="2147473095"/>
            <ac:spMk id="13" creationId="{B4A6279E-8CC1-5216-3BFD-4F6AE6000D87}"/>
          </ac:spMkLst>
        </pc:spChg>
        <pc:spChg chg="add mod">
          <ac:chgData name="Christophe Lerot" userId="1ceec737-4651-43cc-8d99-be438d5aa37f" providerId="ADAL" clId="{CA02B4F7-991D-4268-BCF2-D5846F84D7C0}" dt="2024-11-22T14:14:52.379" v="2597" actId="1038"/>
          <ac:spMkLst>
            <pc:docMk/>
            <pc:sldMk cId="636709181" sldId="2147473095"/>
            <ac:spMk id="14" creationId="{FA34B4B0-C2AF-0E89-E9BA-AD0A0EF5AD64}"/>
          </ac:spMkLst>
        </pc:spChg>
        <pc:spChg chg="add mod">
          <ac:chgData name="Christophe Lerot" userId="1ceec737-4651-43cc-8d99-be438d5aa37f" providerId="ADAL" clId="{CA02B4F7-991D-4268-BCF2-D5846F84D7C0}" dt="2024-11-22T14:14:52.379" v="2597" actId="1038"/>
          <ac:spMkLst>
            <pc:docMk/>
            <pc:sldMk cId="636709181" sldId="2147473095"/>
            <ac:spMk id="15" creationId="{D479A6A6-A7CD-43D1-E539-6B7FE4B2BD12}"/>
          </ac:spMkLst>
        </pc:spChg>
        <pc:spChg chg="add mod">
          <ac:chgData name="Christophe Lerot" userId="1ceec737-4651-43cc-8d99-be438d5aa37f" providerId="ADAL" clId="{CA02B4F7-991D-4268-BCF2-D5846F84D7C0}" dt="2024-11-22T14:14:52.379" v="2597" actId="1038"/>
          <ac:spMkLst>
            <pc:docMk/>
            <pc:sldMk cId="636709181" sldId="2147473095"/>
            <ac:spMk id="16" creationId="{F852175C-88D6-991B-38D5-C34EF30D5168}"/>
          </ac:spMkLst>
        </pc:spChg>
        <pc:picChg chg="add mod">
          <ac:chgData name="Christophe Lerot" userId="1ceec737-4651-43cc-8d99-be438d5aa37f" providerId="ADAL" clId="{CA02B4F7-991D-4268-BCF2-D5846F84D7C0}" dt="2024-11-22T14:11:59.466" v="2454" actId="1076"/>
          <ac:picMkLst>
            <pc:docMk/>
            <pc:sldMk cId="636709181" sldId="2147473095"/>
            <ac:picMk id="4" creationId="{01A45C6B-4131-AA79-1073-5D15726AA703}"/>
          </ac:picMkLst>
        </pc:picChg>
        <pc:picChg chg="add mod">
          <ac:chgData name="Christophe Lerot" userId="1ceec737-4651-43cc-8d99-be438d5aa37f" providerId="ADAL" clId="{CA02B4F7-991D-4268-BCF2-D5846F84D7C0}" dt="2024-11-22T14:14:52.379" v="2597" actId="1038"/>
          <ac:picMkLst>
            <pc:docMk/>
            <pc:sldMk cId="636709181" sldId="2147473095"/>
            <ac:picMk id="8" creationId="{66059D41-71D9-D850-BA1A-463B18D76F89}"/>
          </ac:picMkLst>
        </pc:picChg>
        <pc:picChg chg="add mod modCrop">
          <ac:chgData name="Christophe Lerot" userId="1ceec737-4651-43cc-8d99-be438d5aa37f" providerId="ADAL" clId="{CA02B4F7-991D-4268-BCF2-D5846F84D7C0}" dt="2024-11-22T14:14:52.379" v="2597" actId="1038"/>
          <ac:picMkLst>
            <pc:docMk/>
            <pc:sldMk cId="636709181" sldId="2147473095"/>
            <ac:picMk id="10" creationId="{3B60F4D6-6B30-938C-CE33-FE8F1DEFF6FC}"/>
          </ac:picMkLst>
        </pc:picChg>
        <pc:picChg chg="add mod modCrop">
          <ac:chgData name="Christophe Lerot" userId="1ceec737-4651-43cc-8d99-be438d5aa37f" providerId="ADAL" clId="{CA02B4F7-991D-4268-BCF2-D5846F84D7C0}" dt="2024-11-22T14:14:52.379" v="2597" actId="1038"/>
          <ac:picMkLst>
            <pc:docMk/>
            <pc:sldMk cId="636709181" sldId="2147473095"/>
            <ac:picMk id="12" creationId="{F08F1B18-8BCD-843B-B6AB-27F2F19FD989}"/>
          </ac:picMkLst>
        </pc:picChg>
        <pc:picChg chg="add mod">
          <ac:chgData name="Christophe Lerot" userId="1ceec737-4651-43cc-8d99-be438d5aa37f" providerId="ADAL" clId="{CA02B4F7-991D-4268-BCF2-D5846F84D7C0}" dt="2024-11-22T14:08:48.308" v="2322" actId="1076"/>
          <ac:picMkLst>
            <pc:docMk/>
            <pc:sldMk cId="636709181" sldId="2147473095"/>
            <ac:picMk id="2052" creationId="{92365F97-CFB2-3956-387C-826A7F15CAEA}"/>
          </ac:picMkLst>
        </pc:picChg>
      </pc:sldChg>
      <pc:sldChg chg="addSp delSp modSp add mod">
        <pc:chgData name="Christophe Lerot" userId="1ceec737-4651-43cc-8d99-be438d5aa37f" providerId="ADAL" clId="{CA02B4F7-991D-4268-BCF2-D5846F84D7C0}" dt="2024-11-25T09:09:23.949" v="4095" actId="1035"/>
        <pc:sldMkLst>
          <pc:docMk/>
          <pc:sldMk cId="3967600474" sldId="2147473096"/>
        </pc:sldMkLst>
        <pc:spChg chg="add mod">
          <ac:chgData name="Christophe Lerot" userId="1ceec737-4651-43cc-8d99-be438d5aa37f" providerId="ADAL" clId="{CA02B4F7-991D-4268-BCF2-D5846F84D7C0}" dt="2024-11-25T09:09:23.949" v="4095" actId="1035"/>
          <ac:spMkLst>
            <pc:docMk/>
            <pc:sldMk cId="3967600474" sldId="2147473096"/>
            <ac:spMk id="5" creationId="{1CD3F63F-2299-EEE6-82BA-0A9BA5E4FC24}"/>
          </ac:spMkLst>
        </pc:spChg>
        <pc:spChg chg="mod">
          <ac:chgData name="Christophe Lerot" userId="1ceec737-4651-43cc-8d99-be438d5aa37f" providerId="ADAL" clId="{CA02B4F7-991D-4268-BCF2-D5846F84D7C0}" dt="2024-11-25T09:08:03.302" v="4044" actId="20577"/>
          <ac:spMkLst>
            <pc:docMk/>
            <pc:sldMk cId="3967600474" sldId="2147473096"/>
            <ac:spMk id="7" creationId="{090F6C0D-0AD8-61AB-AD50-E856F9D0C42E}"/>
          </ac:spMkLst>
        </pc:spChg>
        <pc:graphicFrameChg chg="add mod modGraphic">
          <ac:chgData name="Christophe Lerot" userId="1ceec737-4651-43cc-8d99-be438d5aa37f" providerId="ADAL" clId="{CA02B4F7-991D-4268-BCF2-D5846F84D7C0}" dt="2024-11-22T16:06:24.460" v="3463" actId="1076"/>
          <ac:graphicFrameMkLst>
            <pc:docMk/>
            <pc:sldMk cId="3967600474" sldId="2147473096"/>
            <ac:graphicFrameMk id="4" creationId="{3E5D8FA5-C8A6-A620-179E-6C4A96668B9B}"/>
          </ac:graphicFrameMkLst>
        </pc:graphicFrameChg>
        <pc:picChg chg="mod">
          <ac:chgData name="Christophe Lerot" userId="1ceec737-4651-43cc-8d99-be438d5aa37f" providerId="ADAL" clId="{CA02B4F7-991D-4268-BCF2-D5846F84D7C0}" dt="2024-11-22T16:06:40.915" v="3465" actId="1076"/>
          <ac:picMkLst>
            <pc:docMk/>
            <pc:sldMk cId="3967600474" sldId="2147473096"/>
            <ac:picMk id="3074" creationId="{E2856924-BB61-7228-0DB1-D152F8EF3A44}"/>
          </ac:picMkLst>
        </pc:picChg>
      </pc:sldChg>
      <pc:sldChg chg="add mod setBg modShow">
        <pc:chgData name="Christophe Lerot" userId="1ceec737-4651-43cc-8d99-be438d5aa37f" providerId="ADAL" clId="{CA02B4F7-991D-4268-BCF2-D5846F84D7C0}" dt="2024-11-25T08:10:09.613" v="3661" actId="729"/>
        <pc:sldMkLst>
          <pc:docMk/>
          <pc:sldMk cId="285400235" sldId="2147473097"/>
        </pc:sldMkLst>
      </pc:sldChg>
      <pc:sldChg chg="addSp delSp modSp new del mod modClrScheme chgLayout">
        <pc:chgData name="Christophe Lerot" userId="1ceec737-4651-43cc-8d99-be438d5aa37f" providerId="ADAL" clId="{CA02B4F7-991D-4268-BCF2-D5846F84D7C0}" dt="2024-11-25T08:24:38.361" v="3748" actId="47"/>
        <pc:sldMkLst>
          <pc:docMk/>
          <pc:sldMk cId="2532557446" sldId="2147473098"/>
        </pc:sldMkLst>
        <pc:spChg chg="add del">
          <ac:chgData name="Christophe Lerot" userId="1ceec737-4651-43cc-8d99-be438d5aa37f" providerId="ADAL" clId="{CA02B4F7-991D-4268-BCF2-D5846F84D7C0}" dt="2024-11-25T08:22:56.976" v="3733" actId="26606"/>
          <ac:spMkLst>
            <pc:docMk/>
            <pc:sldMk cId="2532557446" sldId="2147473098"/>
            <ac:spMk id="2" creationId="{E7487CF0-2520-EFCA-139C-C723B8D5DBD9}"/>
          </ac:spMkLst>
        </pc:spChg>
        <pc:spChg chg="add mod">
          <ac:chgData name="Christophe Lerot" userId="1ceec737-4651-43cc-8d99-be438d5aa37f" providerId="ADAL" clId="{CA02B4F7-991D-4268-BCF2-D5846F84D7C0}" dt="2024-11-25T08:22:56.976" v="3733" actId="26606"/>
          <ac:spMkLst>
            <pc:docMk/>
            <pc:sldMk cId="2532557446" sldId="2147473098"/>
            <ac:spMk id="3" creationId="{3E77EB91-5489-CFA8-F19B-3B38091ACCEB}"/>
          </ac:spMkLst>
        </pc:spChg>
        <pc:spChg chg="add del mod">
          <ac:chgData name="Christophe Lerot" userId="1ceec737-4651-43cc-8d99-be438d5aa37f" providerId="ADAL" clId="{CA02B4F7-991D-4268-BCF2-D5846F84D7C0}" dt="2024-11-25T08:22:52.937" v="3730" actId="26606"/>
          <ac:spMkLst>
            <pc:docMk/>
            <pc:sldMk cId="2532557446" sldId="2147473098"/>
            <ac:spMk id="1033" creationId="{1A675C95-03FE-C37B-728A-CDCC80D46445}"/>
          </ac:spMkLst>
        </pc:spChg>
        <pc:spChg chg="add del mod">
          <ac:chgData name="Christophe Lerot" userId="1ceec737-4651-43cc-8d99-be438d5aa37f" providerId="ADAL" clId="{CA02B4F7-991D-4268-BCF2-D5846F84D7C0}" dt="2024-11-25T08:22:52.937" v="3730" actId="26606"/>
          <ac:spMkLst>
            <pc:docMk/>
            <pc:sldMk cId="2532557446" sldId="2147473098"/>
            <ac:spMk id="1035" creationId="{8F4484BB-5F4E-2A38-1EF4-E006A53AB684}"/>
          </ac:spMkLst>
        </pc:spChg>
        <pc:spChg chg="add del mod">
          <ac:chgData name="Christophe Lerot" userId="1ceec737-4651-43cc-8d99-be438d5aa37f" providerId="ADAL" clId="{CA02B4F7-991D-4268-BCF2-D5846F84D7C0}" dt="2024-11-25T08:22:56.976" v="3733" actId="26606"/>
          <ac:spMkLst>
            <pc:docMk/>
            <pc:sldMk cId="2532557446" sldId="2147473098"/>
            <ac:spMk id="1037" creationId="{5DB8B00D-203C-60E7-305B-9B36270DD710}"/>
          </ac:spMkLst>
        </pc:spChg>
        <pc:spChg chg="add del mod">
          <ac:chgData name="Christophe Lerot" userId="1ceec737-4651-43cc-8d99-be438d5aa37f" providerId="ADAL" clId="{CA02B4F7-991D-4268-BCF2-D5846F84D7C0}" dt="2024-11-25T08:22:56.976" v="3733" actId="26606"/>
          <ac:spMkLst>
            <pc:docMk/>
            <pc:sldMk cId="2532557446" sldId="2147473098"/>
            <ac:spMk id="1038" creationId="{F5C63B3E-B555-47CF-F339-366062C68F10}"/>
          </ac:spMkLst>
        </pc:spChg>
        <pc:picChg chg="add del mod">
          <ac:chgData name="Christophe Lerot" userId="1ceec737-4651-43cc-8d99-be438d5aa37f" providerId="ADAL" clId="{CA02B4F7-991D-4268-BCF2-D5846F84D7C0}" dt="2024-11-25T08:22:26.086" v="3719" actId="478"/>
          <ac:picMkLst>
            <pc:docMk/>
            <pc:sldMk cId="2532557446" sldId="2147473098"/>
            <ac:picMk id="1026" creationId="{B31DE7AC-96D5-6947-A585-8F3DD53FE37F}"/>
          </ac:picMkLst>
        </pc:picChg>
        <pc:picChg chg="add mod">
          <ac:chgData name="Christophe Lerot" userId="1ceec737-4651-43cc-8d99-be438d5aa37f" providerId="ADAL" clId="{CA02B4F7-991D-4268-BCF2-D5846F84D7C0}" dt="2024-11-25T08:22:56.976" v="3733" actId="26606"/>
          <ac:picMkLst>
            <pc:docMk/>
            <pc:sldMk cId="2532557446" sldId="2147473098"/>
            <ac:picMk id="1028" creationId="{6433EFA3-44FF-2D1B-B6DD-F6706F8299D6}"/>
          </ac:picMkLst>
        </pc:picChg>
      </pc:sldChg>
      <pc:sldChg chg="add del setBg">
        <pc:chgData name="Christophe Lerot" userId="1ceec737-4651-43cc-8d99-be438d5aa37f" providerId="ADAL" clId="{CA02B4F7-991D-4268-BCF2-D5846F84D7C0}" dt="2024-11-25T08:23:57.220" v="3738" actId="47"/>
        <pc:sldMkLst>
          <pc:docMk/>
          <pc:sldMk cId="2586484996" sldId="2147473099"/>
        </pc:sldMkLst>
      </pc:sldChg>
      <pc:sldChg chg="addSp delSp modSp add mod">
        <pc:chgData name="Christophe Lerot" userId="1ceec737-4651-43cc-8d99-be438d5aa37f" providerId="ADAL" clId="{CA02B4F7-991D-4268-BCF2-D5846F84D7C0}" dt="2024-11-25T08:24:33.107" v="3747" actId="1076"/>
        <pc:sldMkLst>
          <pc:docMk/>
          <pc:sldMk cId="210923332" sldId="2147473100"/>
        </pc:sldMkLst>
        <pc:spChg chg="add mod">
          <ac:chgData name="Christophe Lerot" userId="1ceec737-4651-43cc-8d99-be438d5aa37f" providerId="ADAL" clId="{CA02B4F7-991D-4268-BCF2-D5846F84D7C0}" dt="2024-11-25T08:24:33.107" v="3747" actId="1076"/>
          <ac:spMkLst>
            <pc:docMk/>
            <pc:sldMk cId="210923332" sldId="2147473100"/>
            <ac:spMk id="2" creationId="{AFDB383E-54BB-88CC-EF02-6B106E51FCA0}"/>
          </ac:spMkLst>
        </pc:spChg>
        <pc:spChg chg="del">
          <ac:chgData name="Christophe Lerot" userId="1ceec737-4651-43cc-8d99-be438d5aa37f" providerId="ADAL" clId="{CA02B4F7-991D-4268-BCF2-D5846F84D7C0}" dt="2024-11-25T08:24:06.219" v="3741" actId="478"/>
          <ac:spMkLst>
            <pc:docMk/>
            <pc:sldMk cId="210923332" sldId="2147473100"/>
            <ac:spMk id="13" creationId="{A29E4EF2-C1D0-D8E3-3228-FA5954AC2C35}"/>
          </ac:spMkLst>
        </pc:spChg>
        <pc:spChg chg="del">
          <ac:chgData name="Christophe Lerot" userId="1ceec737-4651-43cc-8d99-be438d5aa37f" providerId="ADAL" clId="{CA02B4F7-991D-4268-BCF2-D5846F84D7C0}" dt="2024-11-25T08:24:08.633" v="3742" actId="478"/>
          <ac:spMkLst>
            <pc:docMk/>
            <pc:sldMk cId="210923332" sldId="2147473100"/>
            <ac:spMk id="15" creationId="{DA71D4B6-C350-928A-F434-5A8CF3FEC451}"/>
          </ac:spMkLst>
        </pc:spChg>
        <pc:spChg chg="del">
          <ac:chgData name="Christophe Lerot" userId="1ceec737-4651-43cc-8d99-be438d5aa37f" providerId="ADAL" clId="{CA02B4F7-991D-4268-BCF2-D5846F84D7C0}" dt="2024-11-25T08:24:00.757" v="3739" actId="478"/>
          <ac:spMkLst>
            <pc:docMk/>
            <pc:sldMk cId="210923332" sldId="2147473100"/>
            <ac:spMk id="16" creationId="{B8BDB98C-93B7-20E7-962F-897830879A5C}"/>
          </ac:spMkLst>
        </pc:spChg>
        <pc:spChg chg="del">
          <ac:chgData name="Christophe Lerot" userId="1ceec737-4651-43cc-8d99-be438d5aa37f" providerId="ADAL" clId="{CA02B4F7-991D-4268-BCF2-D5846F84D7C0}" dt="2024-11-25T08:24:06.219" v="3741" actId="478"/>
          <ac:spMkLst>
            <pc:docMk/>
            <pc:sldMk cId="210923332" sldId="2147473100"/>
            <ac:spMk id="33" creationId="{C0A30A66-9A71-4684-5D61-AFB8C9356A6E}"/>
          </ac:spMkLst>
        </pc:spChg>
        <pc:spChg chg="del">
          <ac:chgData name="Christophe Lerot" userId="1ceec737-4651-43cc-8d99-be438d5aa37f" providerId="ADAL" clId="{CA02B4F7-991D-4268-BCF2-D5846F84D7C0}" dt="2024-11-25T08:24:06.219" v="3741" actId="478"/>
          <ac:spMkLst>
            <pc:docMk/>
            <pc:sldMk cId="210923332" sldId="2147473100"/>
            <ac:spMk id="41" creationId="{A117A978-05E7-7167-9C13-09A3E6EB66D9}"/>
          </ac:spMkLst>
        </pc:spChg>
        <pc:grpChg chg="del">
          <ac:chgData name="Christophe Lerot" userId="1ceec737-4651-43cc-8d99-be438d5aa37f" providerId="ADAL" clId="{CA02B4F7-991D-4268-BCF2-D5846F84D7C0}" dt="2024-11-25T08:24:06.219" v="3741" actId="478"/>
          <ac:grpSpMkLst>
            <pc:docMk/>
            <pc:sldMk cId="210923332" sldId="2147473100"/>
            <ac:grpSpMk id="17" creationId="{64B8C336-93B2-95F4-4339-5366ADB6F69C}"/>
          </ac:grpSpMkLst>
        </pc:grpChg>
        <pc:grpChg chg="del">
          <ac:chgData name="Christophe Lerot" userId="1ceec737-4651-43cc-8d99-be438d5aa37f" providerId="ADAL" clId="{CA02B4F7-991D-4268-BCF2-D5846F84D7C0}" dt="2024-11-25T08:24:06.219" v="3741" actId="478"/>
          <ac:grpSpMkLst>
            <pc:docMk/>
            <pc:sldMk cId="210923332" sldId="2147473100"/>
            <ac:grpSpMk id="20" creationId="{7E33F430-96D5-7D59-BD1D-7FA6CE6A09C9}"/>
          </ac:grpSpMkLst>
        </pc:grpChg>
        <pc:grpChg chg="del">
          <ac:chgData name="Christophe Lerot" userId="1ceec737-4651-43cc-8d99-be438d5aa37f" providerId="ADAL" clId="{CA02B4F7-991D-4268-BCF2-D5846F84D7C0}" dt="2024-11-25T08:24:06.219" v="3741" actId="478"/>
          <ac:grpSpMkLst>
            <pc:docMk/>
            <pc:sldMk cId="210923332" sldId="2147473100"/>
            <ac:grpSpMk id="27" creationId="{1C416336-903B-5F4A-1E55-F33E6647554A}"/>
          </ac:grpSpMkLst>
        </pc:grpChg>
        <pc:grpChg chg="del">
          <ac:chgData name="Christophe Lerot" userId="1ceec737-4651-43cc-8d99-be438d5aa37f" providerId="ADAL" clId="{CA02B4F7-991D-4268-BCF2-D5846F84D7C0}" dt="2024-11-25T08:24:06.219" v="3741" actId="478"/>
          <ac:grpSpMkLst>
            <pc:docMk/>
            <pc:sldMk cId="210923332" sldId="2147473100"/>
            <ac:grpSpMk id="30" creationId="{A917B38E-F36F-2633-E6C0-46573DE7ED30}"/>
          </ac:grpSpMkLst>
        </pc:grpChg>
        <pc:grpChg chg="del">
          <ac:chgData name="Christophe Lerot" userId="1ceec737-4651-43cc-8d99-be438d5aa37f" providerId="ADAL" clId="{CA02B4F7-991D-4268-BCF2-D5846F84D7C0}" dt="2024-11-25T08:24:02.314" v="3740" actId="478"/>
          <ac:grpSpMkLst>
            <pc:docMk/>
            <pc:sldMk cId="210923332" sldId="2147473100"/>
            <ac:grpSpMk id="67" creationId="{A9B58BA1-6D9B-B341-5E29-BE6C3B3B96AB}"/>
          </ac:grpSpMkLst>
        </pc:grpChg>
        <pc:grpChg chg="del">
          <ac:chgData name="Christophe Lerot" userId="1ceec737-4651-43cc-8d99-be438d5aa37f" providerId="ADAL" clId="{CA02B4F7-991D-4268-BCF2-D5846F84D7C0}" dt="2024-11-25T08:24:06.219" v="3741" actId="478"/>
          <ac:grpSpMkLst>
            <pc:docMk/>
            <pc:sldMk cId="210923332" sldId="2147473100"/>
            <ac:grpSpMk id="71" creationId="{8DD26B71-9EA0-A0AA-B73A-83CE720B5AF2}"/>
          </ac:grpSpMkLst>
        </pc:grpChg>
        <pc:picChg chg="add mod">
          <ac:chgData name="Christophe Lerot" userId="1ceec737-4651-43cc-8d99-be438d5aa37f" providerId="ADAL" clId="{CA02B4F7-991D-4268-BCF2-D5846F84D7C0}" dt="2024-11-25T08:24:30.346" v="3746" actId="1076"/>
          <ac:picMkLst>
            <pc:docMk/>
            <pc:sldMk cId="210923332" sldId="2147473100"/>
            <ac:picMk id="3" creationId="{6986FDF0-C124-BC8F-A162-D8665BCF42C3}"/>
          </ac:picMkLst>
        </pc:picChg>
        <pc:cxnChg chg="del">
          <ac:chgData name="Christophe Lerot" userId="1ceec737-4651-43cc-8d99-be438d5aa37f" providerId="ADAL" clId="{CA02B4F7-991D-4268-BCF2-D5846F84D7C0}" dt="2024-11-25T08:24:06.219" v="3741" actId="478"/>
          <ac:cxnSpMkLst>
            <pc:docMk/>
            <pc:sldMk cId="210923332" sldId="2147473100"/>
            <ac:cxnSpMk id="12" creationId="{57F15857-5779-C148-7054-EB968D514F56}"/>
          </ac:cxnSpMkLst>
        </pc:cxnChg>
      </pc:sldChg>
      <pc:sldChg chg="add del setBg">
        <pc:chgData name="Christophe Lerot" userId="1ceec737-4651-43cc-8d99-be438d5aa37f" providerId="ADAL" clId="{CA02B4F7-991D-4268-BCF2-D5846F84D7C0}" dt="2024-11-25T08:23:55.342" v="3736"/>
        <pc:sldMkLst>
          <pc:docMk/>
          <pc:sldMk cId="3215943093" sldId="2147473100"/>
        </pc:sldMkLst>
      </pc:sldChg>
      <pc:sldMasterChg chg="delSldLayout modSldLayout">
        <pc:chgData name="Christophe Lerot" userId="1ceec737-4651-43cc-8d99-be438d5aa37f" providerId="ADAL" clId="{CA02B4F7-991D-4268-BCF2-D5846F84D7C0}" dt="2024-11-22T14:55:55.287" v="2650"/>
        <pc:sldMasterMkLst>
          <pc:docMk/>
          <pc:sldMasterMk cId="915293649" sldId="2147483717"/>
        </pc:sldMasterMkLst>
        <pc:sldLayoutChg chg="addSp delSp modSp mod">
          <pc:chgData name="Christophe Lerot" userId="1ceec737-4651-43cc-8d99-be438d5aa37f" providerId="ADAL" clId="{CA02B4F7-991D-4268-BCF2-D5846F84D7C0}" dt="2024-11-22T14:55:55.287" v="2650"/>
          <pc:sldLayoutMkLst>
            <pc:docMk/>
            <pc:sldMasterMk cId="915293649" sldId="2147483717"/>
            <pc:sldLayoutMk cId="3957292802" sldId="2147483720"/>
          </pc:sldLayoutMkLst>
          <pc:spChg chg="add mod ord">
            <ac:chgData name="Christophe Lerot" userId="1ceec737-4651-43cc-8d99-be438d5aa37f" providerId="ADAL" clId="{CA02B4F7-991D-4268-BCF2-D5846F84D7C0}" dt="2024-11-22T11:36:55.328" v="1769" actId="166"/>
            <ac:spMkLst>
              <pc:docMk/>
              <pc:sldMasterMk cId="915293649" sldId="2147483717"/>
              <pc:sldLayoutMk cId="3957292802" sldId="2147483720"/>
              <ac:spMk id="2" creationId="{1A703D48-F546-178C-FB40-991734B63DD0}"/>
            </ac:spMkLst>
          </pc:spChg>
          <pc:picChg chg="add mod ord">
            <ac:chgData name="Christophe Lerot" userId="1ceec737-4651-43cc-8d99-be438d5aa37f" providerId="ADAL" clId="{CA02B4F7-991D-4268-BCF2-D5846F84D7C0}" dt="2024-11-22T14:08:16.523" v="2319" actId="14100"/>
            <ac:picMkLst>
              <pc:docMk/>
              <pc:sldMasterMk cId="915293649" sldId="2147483717"/>
              <pc:sldLayoutMk cId="3957292802" sldId="2147483720"/>
              <ac:picMk id="4" creationId="{21A36C6B-7EB5-CEA6-73FC-00E140B59B1E}"/>
            </ac:picMkLst>
          </pc:picChg>
        </pc:sldLayoutChg>
        <pc:sldLayoutChg chg="del">
          <pc:chgData name="Christophe Lerot" userId="1ceec737-4651-43cc-8d99-be438d5aa37f" providerId="ADAL" clId="{CA02B4F7-991D-4268-BCF2-D5846F84D7C0}" dt="2024-11-19T13:26:51.762" v="786" actId="47"/>
          <pc:sldLayoutMkLst>
            <pc:docMk/>
            <pc:sldMasterMk cId="915293649" sldId="2147483717"/>
            <pc:sldLayoutMk cId="559716890" sldId="2147483740"/>
          </pc:sldLayoutMkLst>
        </pc:sldLayoutChg>
        <pc:sldLayoutChg chg="delSp mod">
          <pc:chgData name="Christophe Lerot" userId="1ceec737-4651-43cc-8d99-be438d5aa37f" providerId="ADAL" clId="{CA02B4F7-991D-4268-BCF2-D5846F84D7C0}" dt="2024-11-22T11:35:16.801" v="1756" actId="478"/>
          <pc:sldLayoutMkLst>
            <pc:docMk/>
            <pc:sldMasterMk cId="915293649" sldId="2147483717"/>
            <pc:sldLayoutMk cId="2670235630" sldId="2147483742"/>
          </pc:sldLayoutMkLst>
        </pc:sldLayoutChg>
      </pc:sldMasterChg>
      <pc:sldMasterChg chg="del delSldLayout">
        <pc:chgData name="Christophe Lerot" userId="1ceec737-4651-43cc-8d99-be438d5aa37f" providerId="ADAL" clId="{CA02B4F7-991D-4268-BCF2-D5846F84D7C0}" dt="2024-11-22T11:38:17.822" v="1772" actId="700"/>
        <pc:sldMasterMkLst>
          <pc:docMk/>
          <pc:sldMasterMk cId="897697982" sldId="2147483753"/>
        </pc:sldMasterMkLst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2906639337" sldId="2147483754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4036080648" sldId="2147483755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2507900386" sldId="2147483756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3592950540" sldId="2147483757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2439045248" sldId="2147483758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2822168701" sldId="2147483759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1442555723" sldId="2147483760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1577353343" sldId="2147483761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705227485" sldId="2147483762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1111514341" sldId="2147483763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318549337" sldId="2147483764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1738682944" sldId="2147483765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2133723594" sldId="2147483766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1859997880" sldId="2147483767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3767545256" sldId="2147483768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811052826" sldId="2147483769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90331279" sldId="2147483770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2768884649" sldId="2147483771"/>
          </pc:sldLayoutMkLst>
        </pc:sldLayoutChg>
        <pc:sldLayoutChg chg="del">
          <pc:chgData name="Christophe Lerot" userId="1ceec737-4651-43cc-8d99-be438d5aa37f" providerId="ADAL" clId="{CA02B4F7-991D-4268-BCF2-D5846F84D7C0}" dt="2024-11-22T11:38:17.822" v="1772" actId="700"/>
          <pc:sldLayoutMkLst>
            <pc:docMk/>
            <pc:sldMasterMk cId="897697982" sldId="2147483753"/>
            <pc:sldLayoutMk cId="613795444" sldId="2147483772"/>
          </pc:sldLayoutMkLst>
        </pc:sldLayoutChg>
      </pc:sldMasterChg>
      <pc:sldMasterChg chg="del delSldLayout">
        <pc:chgData name="Christophe Lerot" userId="1ceec737-4651-43cc-8d99-be438d5aa37f" providerId="ADAL" clId="{CA02B4F7-991D-4268-BCF2-D5846F84D7C0}" dt="2024-11-19T13:32:06.047" v="791" actId="700"/>
        <pc:sldMasterMkLst>
          <pc:docMk/>
          <pc:sldMasterMk cId="1176557060" sldId="2147483753"/>
        </pc:sldMasterMkLst>
        <pc:sldLayoutChg chg="del">
          <pc:chgData name="Christophe Lerot" userId="1ceec737-4651-43cc-8d99-be438d5aa37f" providerId="ADAL" clId="{CA02B4F7-991D-4268-BCF2-D5846F84D7C0}" dt="2024-11-19T13:32:06.047" v="791" actId="700"/>
          <pc:sldLayoutMkLst>
            <pc:docMk/>
            <pc:sldMasterMk cId="1176557060" sldId="2147483753"/>
            <pc:sldLayoutMk cId="2857701970" sldId="2147483754"/>
          </pc:sldLayoutMkLst>
        </pc:sldLayoutChg>
        <pc:sldLayoutChg chg="del">
          <pc:chgData name="Christophe Lerot" userId="1ceec737-4651-43cc-8d99-be438d5aa37f" providerId="ADAL" clId="{CA02B4F7-991D-4268-BCF2-D5846F84D7C0}" dt="2024-11-19T13:32:06.047" v="791" actId="700"/>
          <pc:sldLayoutMkLst>
            <pc:docMk/>
            <pc:sldMasterMk cId="1176557060" sldId="2147483753"/>
            <pc:sldLayoutMk cId="3784489311" sldId="2147483755"/>
          </pc:sldLayoutMkLst>
        </pc:sldLayoutChg>
        <pc:sldLayoutChg chg="del">
          <pc:chgData name="Christophe Lerot" userId="1ceec737-4651-43cc-8d99-be438d5aa37f" providerId="ADAL" clId="{CA02B4F7-991D-4268-BCF2-D5846F84D7C0}" dt="2024-11-19T13:32:06.047" v="791" actId="700"/>
          <pc:sldLayoutMkLst>
            <pc:docMk/>
            <pc:sldMasterMk cId="1176557060" sldId="2147483753"/>
            <pc:sldLayoutMk cId="2419875280" sldId="2147483756"/>
          </pc:sldLayoutMkLst>
        </pc:sldLayoutChg>
        <pc:sldLayoutChg chg="del">
          <pc:chgData name="Christophe Lerot" userId="1ceec737-4651-43cc-8d99-be438d5aa37f" providerId="ADAL" clId="{CA02B4F7-991D-4268-BCF2-D5846F84D7C0}" dt="2024-11-19T13:32:06.047" v="791" actId="700"/>
          <pc:sldLayoutMkLst>
            <pc:docMk/>
            <pc:sldMasterMk cId="1176557060" sldId="2147483753"/>
            <pc:sldLayoutMk cId="567346646" sldId="2147483757"/>
          </pc:sldLayoutMkLst>
        </pc:sldLayoutChg>
        <pc:sldLayoutChg chg="del">
          <pc:chgData name="Christophe Lerot" userId="1ceec737-4651-43cc-8d99-be438d5aa37f" providerId="ADAL" clId="{CA02B4F7-991D-4268-BCF2-D5846F84D7C0}" dt="2024-11-19T13:32:06.047" v="791" actId="700"/>
          <pc:sldLayoutMkLst>
            <pc:docMk/>
            <pc:sldMasterMk cId="1176557060" sldId="2147483753"/>
            <pc:sldLayoutMk cId="1005333761" sldId="2147483758"/>
          </pc:sldLayoutMkLst>
        </pc:sldLayoutChg>
        <pc:sldLayoutChg chg="del">
          <pc:chgData name="Christophe Lerot" userId="1ceec737-4651-43cc-8d99-be438d5aa37f" providerId="ADAL" clId="{CA02B4F7-991D-4268-BCF2-D5846F84D7C0}" dt="2024-11-19T13:32:06.047" v="791" actId="700"/>
          <pc:sldLayoutMkLst>
            <pc:docMk/>
            <pc:sldMasterMk cId="1176557060" sldId="2147483753"/>
            <pc:sldLayoutMk cId="4227369452" sldId="2147483759"/>
          </pc:sldLayoutMkLst>
        </pc:sldLayoutChg>
        <pc:sldLayoutChg chg="del">
          <pc:chgData name="Christophe Lerot" userId="1ceec737-4651-43cc-8d99-be438d5aa37f" providerId="ADAL" clId="{CA02B4F7-991D-4268-BCF2-D5846F84D7C0}" dt="2024-11-19T13:32:06.047" v="791" actId="700"/>
          <pc:sldLayoutMkLst>
            <pc:docMk/>
            <pc:sldMasterMk cId="1176557060" sldId="2147483753"/>
            <pc:sldLayoutMk cId="2504336042" sldId="2147483760"/>
          </pc:sldLayoutMkLst>
        </pc:sldLayoutChg>
        <pc:sldLayoutChg chg="del">
          <pc:chgData name="Christophe Lerot" userId="1ceec737-4651-43cc-8d99-be438d5aa37f" providerId="ADAL" clId="{CA02B4F7-991D-4268-BCF2-D5846F84D7C0}" dt="2024-11-19T13:32:06.047" v="791" actId="700"/>
          <pc:sldLayoutMkLst>
            <pc:docMk/>
            <pc:sldMasterMk cId="1176557060" sldId="2147483753"/>
            <pc:sldLayoutMk cId="3503409671" sldId="2147483761"/>
          </pc:sldLayoutMkLst>
        </pc:sldLayoutChg>
        <pc:sldLayoutChg chg="del">
          <pc:chgData name="Christophe Lerot" userId="1ceec737-4651-43cc-8d99-be438d5aa37f" providerId="ADAL" clId="{CA02B4F7-991D-4268-BCF2-D5846F84D7C0}" dt="2024-11-19T13:32:06.047" v="791" actId="700"/>
          <pc:sldLayoutMkLst>
            <pc:docMk/>
            <pc:sldMasterMk cId="1176557060" sldId="2147483753"/>
            <pc:sldLayoutMk cId="427646491" sldId="2147483762"/>
          </pc:sldLayoutMkLst>
        </pc:sldLayoutChg>
        <pc:sldLayoutChg chg="del">
          <pc:chgData name="Christophe Lerot" userId="1ceec737-4651-43cc-8d99-be438d5aa37f" providerId="ADAL" clId="{CA02B4F7-991D-4268-BCF2-D5846F84D7C0}" dt="2024-11-19T13:32:06.047" v="791" actId="700"/>
          <pc:sldLayoutMkLst>
            <pc:docMk/>
            <pc:sldMasterMk cId="1176557060" sldId="2147483753"/>
            <pc:sldLayoutMk cId="2990868214" sldId="2147483763"/>
          </pc:sldLayoutMkLst>
        </pc:sldLayoutChg>
        <pc:sldLayoutChg chg="del">
          <pc:chgData name="Christophe Lerot" userId="1ceec737-4651-43cc-8d99-be438d5aa37f" providerId="ADAL" clId="{CA02B4F7-991D-4268-BCF2-D5846F84D7C0}" dt="2024-11-19T13:32:06.047" v="791" actId="700"/>
          <pc:sldLayoutMkLst>
            <pc:docMk/>
            <pc:sldMasterMk cId="1176557060" sldId="2147483753"/>
            <pc:sldLayoutMk cId="747073110" sldId="2147483764"/>
          </pc:sldLayoutMkLst>
        </pc:sldLayoutChg>
        <pc:sldLayoutChg chg="del">
          <pc:chgData name="Christophe Lerot" userId="1ceec737-4651-43cc-8d99-be438d5aa37f" providerId="ADAL" clId="{CA02B4F7-991D-4268-BCF2-D5846F84D7C0}" dt="2024-11-19T13:32:06.047" v="791" actId="700"/>
          <pc:sldLayoutMkLst>
            <pc:docMk/>
            <pc:sldMasterMk cId="1176557060" sldId="2147483753"/>
            <pc:sldLayoutMk cId="2112015056" sldId="2147483765"/>
          </pc:sldLayoutMkLst>
        </pc:sldLayoutChg>
        <pc:sldLayoutChg chg="del">
          <pc:chgData name="Christophe Lerot" userId="1ceec737-4651-43cc-8d99-be438d5aa37f" providerId="ADAL" clId="{CA02B4F7-991D-4268-BCF2-D5846F84D7C0}" dt="2024-11-19T13:32:06.047" v="791" actId="700"/>
          <pc:sldLayoutMkLst>
            <pc:docMk/>
            <pc:sldMasterMk cId="1176557060" sldId="2147483753"/>
            <pc:sldLayoutMk cId="330722234" sldId="2147483766"/>
          </pc:sldLayoutMkLst>
        </pc:sldLayoutChg>
      </pc:sldMasterChg>
    </pc:docChg>
  </pc:docChgLst>
  <pc:docChgLst>
    <pc:chgData name="Max Gulde" userId="8a94856c-0e23-4cea-a56e-5e69679ff3b7" providerId="ADAL" clId="{60726428-1241-422A-A12B-058168E8686E}"/>
    <pc:docChg chg="undo custSel addSld delSld modSld sldOrd delMainMaster">
      <pc:chgData name="Max Gulde" userId="8a94856c-0e23-4cea-a56e-5e69679ff3b7" providerId="ADAL" clId="{60726428-1241-422A-A12B-058168E8686E}" dt="2023-09-18T20:13:16.919" v="2214"/>
      <pc:docMkLst>
        <pc:docMk/>
      </pc:docMkLst>
      <pc:sldChg chg="add del">
        <pc:chgData name="Max Gulde" userId="8a94856c-0e23-4cea-a56e-5e69679ff3b7" providerId="ADAL" clId="{60726428-1241-422A-A12B-058168E8686E}" dt="2023-09-18T19:33:01.736" v="188" actId="47"/>
        <pc:sldMkLst>
          <pc:docMk/>
          <pc:sldMk cId="330641209" sldId="959"/>
        </pc:sldMkLst>
      </pc:sldChg>
      <pc:sldChg chg="add del setBg">
        <pc:chgData name="Max Gulde" userId="8a94856c-0e23-4cea-a56e-5e69679ff3b7" providerId="ADAL" clId="{60726428-1241-422A-A12B-058168E8686E}" dt="2023-09-18T19:58:25.872" v="1969"/>
        <pc:sldMkLst>
          <pc:docMk/>
          <pc:sldMk cId="4018129412" sldId="1063"/>
        </pc:sldMkLst>
      </pc:sldChg>
      <pc:sldChg chg="add del ord setBg">
        <pc:chgData name="Max Gulde" userId="8a94856c-0e23-4cea-a56e-5e69679ff3b7" providerId="ADAL" clId="{60726428-1241-422A-A12B-058168E8686E}" dt="2023-09-18T20:05:39.627" v="2037"/>
        <pc:sldMkLst>
          <pc:docMk/>
          <pc:sldMk cId="2005485611" sldId="1064"/>
        </pc:sldMkLst>
      </pc:sldChg>
      <pc:sldChg chg="add del setBg">
        <pc:chgData name="Max Gulde" userId="8a94856c-0e23-4cea-a56e-5e69679ff3b7" providerId="ADAL" clId="{60726428-1241-422A-A12B-058168E8686E}" dt="2023-09-18T20:05:24.842" v="2032"/>
        <pc:sldMkLst>
          <pc:docMk/>
          <pc:sldMk cId="2709883515" sldId="1065"/>
        </pc:sldMkLst>
      </pc:sldChg>
      <pc:sldChg chg="add del setBg">
        <pc:chgData name="Max Gulde" userId="8a94856c-0e23-4cea-a56e-5e69679ff3b7" providerId="ADAL" clId="{60726428-1241-422A-A12B-058168E8686E}" dt="2023-09-18T19:58:25.872" v="1969"/>
        <pc:sldMkLst>
          <pc:docMk/>
          <pc:sldMk cId="1728326048" sldId="1069"/>
        </pc:sldMkLst>
      </pc:sldChg>
      <pc:sldChg chg="modSp add del mod setBg">
        <pc:chgData name="Max Gulde" userId="8a94856c-0e23-4cea-a56e-5e69679ff3b7" providerId="ADAL" clId="{60726428-1241-422A-A12B-058168E8686E}" dt="2023-09-18T20:07:49.541" v="2149" actId="6549"/>
        <pc:sldMkLst>
          <pc:docMk/>
          <pc:sldMk cId="3567907936" sldId="1074"/>
        </pc:sldMkLst>
      </pc:sldChg>
      <pc:sldChg chg="addSp delSp modSp add del mod setBg">
        <pc:chgData name="Max Gulde" userId="8a94856c-0e23-4cea-a56e-5e69679ff3b7" providerId="ADAL" clId="{60726428-1241-422A-A12B-058168E8686E}" dt="2023-09-18T20:13:16.919" v="2214"/>
        <pc:sldMkLst>
          <pc:docMk/>
          <pc:sldMk cId="1991260788" sldId="1075"/>
        </pc:sldMkLst>
      </pc:sldChg>
      <pc:sldChg chg="addSp delSp modSp mod modClrScheme chgLayout">
        <pc:chgData name="Max Gulde" userId="8a94856c-0e23-4cea-a56e-5e69679ff3b7" providerId="ADAL" clId="{60726428-1241-422A-A12B-058168E8686E}" dt="2023-09-18T19:26:01.150" v="67" actId="552"/>
        <pc:sldMkLst>
          <pc:docMk/>
          <pc:sldMk cId="2722315627" sldId="1079"/>
        </pc:sldMkLst>
      </pc:sldChg>
      <pc:sldChg chg="add del setBg">
        <pc:chgData name="Max Gulde" userId="8a94856c-0e23-4cea-a56e-5e69679ff3b7" providerId="ADAL" clId="{60726428-1241-422A-A12B-058168E8686E}" dt="2023-09-18T20:00:09.702" v="1984"/>
        <pc:sldMkLst>
          <pc:docMk/>
          <pc:sldMk cId="185160668" sldId="1085"/>
        </pc:sldMkLst>
      </pc:sldChg>
      <pc:sldChg chg="modSp mod">
        <pc:chgData name="Max Gulde" userId="8a94856c-0e23-4cea-a56e-5e69679ff3b7" providerId="ADAL" clId="{60726428-1241-422A-A12B-058168E8686E}" dt="2023-09-18T19:29:28.973" v="159" actId="20577"/>
        <pc:sldMkLst>
          <pc:docMk/>
          <pc:sldMk cId="2682087424" sldId="1086"/>
        </pc:sldMkLst>
      </pc:sldChg>
      <pc:sldChg chg="del">
        <pc:chgData name="Max Gulde" userId="8a94856c-0e23-4cea-a56e-5e69679ff3b7" providerId="ADAL" clId="{60726428-1241-422A-A12B-058168E8686E}" dt="2023-09-18T20:04:34.154" v="2029" actId="47"/>
        <pc:sldMkLst>
          <pc:docMk/>
          <pc:sldMk cId="3869189381" sldId="1097"/>
        </pc:sldMkLst>
      </pc:sldChg>
      <pc:sldChg chg="addSp modSp mod">
        <pc:chgData name="Max Gulde" userId="8a94856c-0e23-4cea-a56e-5e69679ff3b7" providerId="ADAL" clId="{60726428-1241-422A-A12B-058168E8686E}" dt="2023-09-18T19:28:11.807" v="117" actId="20577"/>
        <pc:sldMkLst>
          <pc:docMk/>
          <pc:sldMk cId="2232845282" sldId="1103"/>
        </pc:sldMkLst>
      </pc:sldChg>
      <pc:sldChg chg="ord">
        <pc:chgData name="Max Gulde" userId="8a94856c-0e23-4cea-a56e-5e69679ff3b7" providerId="ADAL" clId="{60726428-1241-422A-A12B-058168E8686E}" dt="2023-09-18T19:57:38.981" v="1965"/>
        <pc:sldMkLst>
          <pc:docMk/>
          <pc:sldMk cId="3574055591" sldId="1105"/>
        </pc:sldMkLst>
      </pc:sldChg>
      <pc:sldChg chg="modSp add mod">
        <pc:chgData name="Max Gulde" userId="8a94856c-0e23-4cea-a56e-5e69679ff3b7" providerId="ADAL" clId="{60726428-1241-422A-A12B-058168E8686E}" dt="2023-09-18T19:57:46.162" v="1966" actId="20577"/>
        <pc:sldMkLst>
          <pc:docMk/>
          <pc:sldMk cId="588442336" sldId="1107"/>
        </pc:sldMkLst>
      </pc:sldChg>
      <pc:sldChg chg="add del setBg">
        <pc:chgData name="Max Gulde" userId="8a94856c-0e23-4cea-a56e-5e69679ff3b7" providerId="ADAL" clId="{60726428-1241-422A-A12B-058168E8686E}" dt="2023-09-18T20:00:09.702" v="1984"/>
        <pc:sldMkLst>
          <pc:docMk/>
          <pc:sldMk cId="475133410" sldId="1110"/>
        </pc:sldMkLst>
      </pc:sldChg>
      <pc:sldChg chg="addSp delSp modSp mod ord">
        <pc:chgData name="Max Gulde" userId="8a94856c-0e23-4cea-a56e-5e69679ff3b7" providerId="ADAL" clId="{60726428-1241-422A-A12B-058168E8686E}" dt="2023-09-18T20:03:34.564" v="2028" actId="20577"/>
        <pc:sldMkLst>
          <pc:docMk/>
          <pc:sldMk cId="1108689080" sldId="1131"/>
        </pc:sldMkLst>
      </pc:sldChg>
      <pc:sldChg chg="del">
        <pc:chgData name="Max Gulde" userId="8a94856c-0e23-4cea-a56e-5e69679ff3b7" providerId="ADAL" clId="{60726428-1241-422A-A12B-058168E8686E}" dt="2023-09-18T20:04:34.154" v="2029" actId="47"/>
        <pc:sldMkLst>
          <pc:docMk/>
          <pc:sldMk cId="2700610087" sldId="1134"/>
        </pc:sldMkLst>
      </pc:sldChg>
      <pc:sldChg chg="del delCm">
        <pc:chgData name="Max Gulde" userId="8a94856c-0e23-4cea-a56e-5e69679ff3b7" providerId="ADAL" clId="{60726428-1241-422A-A12B-058168E8686E}" dt="2023-09-18T20:04:34.154" v="2029" actId="47"/>
        <pc:sldMkLst>
          <pc:docMk/>
          <pc:sldMk cId="3149773358" sldId="114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Max Gulde" userId="8a94856c-0e23-4cea-a56e-5e69679ff3b7" providerId="ADAL" clId="{60726428-1241-422A-A12B-058168E8686E}" dt="2023-09-18T19:30:00.303" v="160"/>
              <pc2:cmMkLst xmlns:pc2="http://schemas.microsoft.com/office/powerpoint/2019/9/main/command">
                <pc:docMk/>
                <pc:sldMk cId="3149773358" sldId="1144"/>
                <pc2:cmMk id="{E0FB8900-0F3D-6140-89A9-3165FC0279FF}"/>
              </pc2:cmMkLst>
            </pc226:cmChg>
            <pc226:cmChg xmlns:pc226="http://schemas.microsoft.com/office/powerpoint/2022/06/main/command" chg="del">
              <pc226:chgData name="Max Gulde" userId="8a94856c-0e23-4cea-a56e-5e69679ff3b7" providerId="ADAL" clId="{60726428-1241-422A-A12B-058168E8686E}" dt="2023-09-18T19:30:00.917" v="161"/>
              <pc2:cmMkLst xmlns:pc2="http://schemas.microsoft.com/office/powerpoint/2019/9/main/command">
                <pc:docMk/>
                <pc:sldMk cId="3149773358" sldId="1144"/>
                <pc2:cmMk id="{F3DDF504-9ADE-4B46-83F4-F4B827C0FAF3}"/>
              </pc2:cmMkLst>
            </pc226:cmChg>
          </p:ext>
        </pc:extLst>
      </pc:sldChg>
      <pc:sldChg chg="del">
        <pc:chgData name="Max Gulde" userId="8a94856c-0e23-4cea-a56e-5e69679ff3b7" providerId="ADAL" clId="{60726428-1241-422A-A12B-058168E8686E}" dt="2023-09-18T20:01:36.563" v="2006" actId="47"/>
        <pc:sldMkLst>
          <pc:docMk/>
          <pc:sldMk cId="3736282935" sldId="1156"/>
        </pc:sldMkLst>
      </pc:sldChg>
      <pc:sldChg chg="del">
        <pc:chgData name="Max Gulde" userId="8a94856c-0e23-4cea-a56e-5e69679ff3b7" providerId="ADAL" clId="{60726428-1241-422A-A12B-058168E8686E}" dt="2023-09-18T20:04:34.154" v="2029" actId="47"/>
        <pc:sldMkLst>
          <pc:docMk/>
          <pc:sldMk cId="2440377801" sldId="1167"/>
        </pc:sldMkLst>
      </pc:sldChg>
      <pc:sldChg chg="del">
        <pc:chgData name="Max Gulde" userId="8a94856c-0e23-4cea-a56e-5e69679ff3b7" providerId="ADAL" clId="{60726428-1241-422A-A12B-058168E8686E}" dt="2023-09-18T20:04:34.154" v="2029" actId="47"/>
        <pc:sldMkLst>
          <pc:docMk/>
          <pc:sldMk cId="3109557544" sldId="1173"/>
        </pc:sldMkLst>
      </pc:sldChg>
      <pc:sldChg chg="modSp mod ord">
        <pc:chgData name="Max Gulde" userId="8a94856c-0e23-4cea-a56e-5e69679ff3b7" providerId="ADAL" clId="{60726428-1241-422A-A12B-058168E8686E}" dt="2023-09-18T19:55:41.103" v="1929" actId="27636"/>
        <pc:sldMkLst>
          <pc:docMk/>
          <pc:sldMk cId="2009352192" sldId="1174"/>
        </pc:sldMkLst>
      </pc:sldChg>
      <pc:sldChg chg="modSp add mod setBg">
        <pc:chgData name="Max Gulde" userId="8a94856c-0e23-4cea-a56e-5e69679ff3b7" providerId="ADAL" clId="{60726428-1241-422A-A12B-058168E8686E}" dt="2023-09-18T19:59:02.524" v="1981" actId="20577"/>
        <pc:sldMkLst>
          <pc:docMk/>
          <pc:sldMk cId="2171643126" sldId="1175"/>
        </pc:sldMkLst>
      </pc:sldChg>
      <pc:sldChg chg="addSp delSp modSp add del mod">
        <pc:chgData name="Max Gulde" userId="8a94856c-0e23-4cea-a56e-5e69679ff3b7" providerId="ADAL" clId="{60726428-1241-422A-A12B-058168E8686E}" dt="2023-09-18T19:33:00.226" v="187" actId="47"/>
        <pc:sldMkLst>
          <pc:docMk/>
          <pc:sldMk cId="2502476922" sldId="1175"/>
        </pc:sldMkLst>
      </pc:sldChg>
      <pc:sldChg chg="modSp add mod">
        <pc:chgData name="Max Gulde" userId="8a94856c-0e23-4cea-a56e-5e69679ff3b7" providerId="ADAL" clId="{60726428-1241-422A-A12B-058168E8686E}" dt="2023-09-18T20:06:00.061" v="2061" actId="20577"/>
        <pc:sldMkLst>
          <pc:docMk/>
          <pc:sldMk cId="1465019918" sldId="1176"/>
        </pc:sldMkLst>
      </pc:sldChg>
      <pc:sldMasterChg chg="delSldLayout">
        <pc:chgData name="Max Gulde" userId="8a94856c-0e23-4cea-a56e-5e69679ff3b7" providerId="ADAL" clId="{60726428-1241-422A-A12B-058168E8686E}" dt="2023-09-18T19:33:01.736" v="188" actId="47"/>
        <pc:sldMasterMkLst>
          <pc:docMk/>
          <pc:sldMasterMk cId="915293649" sldId="2147483717"/>
        </pc:sldMasterMkLst>
        <pc:sldLayoutChg chg="del">
          <pc:chgData name="Max Gulde" userId="8a94856c-0e23-4cea-a56e-5e69679ff3b7" providerId="ADAL" clId="{60726428-1241-422A-A12B-058168E8686E}" dt="2023-09-18T19:33:01.736" v="188" actId="47"/>
          <pc:sldLayoutMkLst>
            <pc:docMk/>
            <pc:sldMasterMk cId="915293649" sldId="2147483717"/>
            <pc:sldLayoutMk cId="1483849239" sldId="2147483770"/>
          </pc:sldLayoutMkLst>
        </pc:sldLayoutChg>
      </pc:sldMasterChg>
      <pc:sldMasterChg chg="del delSldLayout">
        <pc:chgData name="Max Gulde" userId="8a94856c-0e23-4cea-a56e-5e69679ff3b7" providerId="ADAL" clId="{60726428-1241-422A-A12B-058168E8686E}" dt="2023-09-18T20:04:34.154" v="2029" actId="47"/>
        <pc:sldMasterMkLst>
          <pc:docMk/>
          <pc:sldMasterMk cId="3147541366" sldId="2147483750"/>
        </pc:sldMasterMkLst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1410757358" sldId="2147483751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1179671509" sldId="2147483752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1846067186" sldId="2147483753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1254272073" sldId="2147483754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137318006" sldId="2147483755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634705942" sldId="2147483756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688181511" sldId="2147483757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2638363115" sldId="2147483758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3505114459" sldId="2147483759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626085578" sldId="2147483760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2243926991" sldId="2147483761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2499230699" sldId="2147483762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166697494" sldId="2147483763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3321987855" sldId="2147483764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3316621298" sldId="2147483765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1565111693" sldId="2147483766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1133050051" sldId="2147483767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2544000601" sldId="2147483768"/>
          </pc:sldLayoutMkLst>
        </pc:sldLayoutChg>
        <pc:sldLayoutChg chg="del">
          <pc:chgData name="Max Gulde" userId="8a94856c-0e23-4cea-a56e-5e69679ff3b7" providerId="ADAL" clId="{60726428-1241-422A-A12B-058168E8686E}" dt="2023-09-18T20:04:34.154" v="2029" actId="47"/>
          <pc:sldLayoutMkLst>
            <pc:docMk/>
            <pc:sldMasterMk cId="3147541366" sldId="2147483750"/>
            <pc:sldLayoutMk cId="1590066707" sldId="2147483769"/>
          </pc:sldLayoutMkLst>
        </pc:sldLayoutChg>
      </pc:sldMasterChg>
    </pc:docChg>
  </pc:docChgLst>
  <pc:docChgLst>
    <pc:chgData name="Christophe Lerot" userId="S::christophe.lerot@constellr.com::1ceec737-4651-43cc-8d99-be438d5aa37f" providerId="AD" clId="Web-{2C3A7145-A9F0-63FB-B1BA-108EF9F78C47}"/>
    <pc:docChg chg="modSld">
      <pc:chgData name="Christophe Lerot" userId="S::christophe.lerot@constellr.com::1ceec737-4651-43cc-8d99-be438d5aa37f" providerId="AD" clId="Web-{2C3A7145-A9F0-63FB-B1BA-108EF9F78C47}" dt="2024-11-25T13:22:09.484" v="63"/>
      <pc:docMkLst>
        <pc:docMk/>
      </pc:docMkLst>
      <pc:sldChg chg="modSp">
        <pc:chgData name="Christophe Lerot" userId="S::christophe.lerot@constellr.com::1ceec737-4651-43cc-8d99-be438d5aa37f" providerId="AD" clId="Web-{2C3A7145-A9F0-63FB-B1BA-108EF9F78C47}" dt="2024-11-25T13:22:09.484" v="63"/>
        <pc:sldMkLst>
          <pc:docMk/>
          <pc:sldMk cId="94344" sldId="973"/>
        </pc:sldMkLst>
        <pc:graphicFrameChg chg="mod modGraphic">
          <ac:chgData name="Christophe Lerot" userId="S::christophe.lerot@constellr.com::1ceec737-4651-43cc-8d99-be438d5aa37f" providerId="AD" clId="Web-{2C3A7145-A9F0-63FB-B1BA-108EF9F78C47}" dt="2024-11-25T13:22:09.484" v="63"/>
          <ac:graphicFrameMkLst>
            <pc:docMk/>
            <pc:sldMk cId="94344" sldId="973"/>
            <ac:graphicFrameMk id="6" creationId="{D6D711B8-1C0C-D265-F944-B67CF39E1967}"/>
          </ac:graphicFrameMkLst>
        </pc:graphicFrameChg>
      </pc:sldChg>
    </pc:docChg>
  </pc:docChgLst>
  <pc:docChgLst>
    <pc:chgData name="Christophe Lerot" userId="1ceec737-4651-43cc-8d99-be438d5aa37f" providerId="ADAL" clId="{AB629D7E-79CC-4CB8-BD13-A20B1ED61A78}"/>
    <pc:docChg chg="undo custSel addSld delSld modSld sldOrd modMainMaster">
      <pc:chgData name="Christophe Lerot" userId="1ceec737-4651-43cc-8d99-be438d5aa37f" providerId="ADAL" clId="{AB629D7E-79CC-4CB8-BD13-A20B1ED61A78}" dt="2024-11-05T12:54:14.296" v="218" actId="1036"/>
      <pc:docMkLst>
        <pc:docMk/>
      </pc:docMkLst>
      <pc:sldChg chg="modSp add mod">
        <pc:chgData name="Christophe Lerot" userId="1ceec737-4651-43cc-8d99-be438d5aa37f" providerId="ADAL" clId="{AB629D7E-79CC-4CB8-BD13-A20B1ED61A78}" dt="2024-11-05T12:40:59.089" v="125" actId="207"/>
        <pc:sldMkLst>
          <pc:docMk/>
          <pc:sldMk cId="330641209" sldId="959"/>
        </pc:sldMkLst>
        <pc:spChg chg="mod">
          <ac:chgData name="Christophe Lerot" userId="1ceec737-4651-43cc-8d99-be438d5aa37f" providerId="ADAL" clId="{AB629D7E-79CC-4CB8-BD13-A20B1ED61A78}" dt="2024-11-05T12:40:52.729" v="124" actId="20577"/>
          <ac:spMkLst>
            <pc:docMk/>
            <pc:sldMk cId="330641209" sldId="959"/>
            <ac:spMk id="39" creationId="{787FBAC0-9F34-3860-95A9-842C4A3F1A24}"/>
          </ac:spMkLst>
        </pc:spChg>
        <pc:spChg chg="mod">
          <ac:chgData name="Christophe Lerot" userId="1ceec737-4651-43cc-8d99-be438d5aa37f" providerId="ADAL" clId="{AB629D7E-79CC-4CB8-BD13-A20B1ED61A78}" dt="2024-11-05T12:40:59.089" v="125" actId="207"/>
          <ac:spMkLst>
            <pc:docMk/>
            <pc:sldMk cId="330641209" sldId="959"/>
            <ac:spMk id="70" creationId="{D63BDAB2-6D72-3A6B-126C-CD10E8995623}"/>
          </ac:spMkLst>
        </pc:spChg>
      </pc:sldChg>
      <pc:sldChg chg="modSp add mod">
        <pc:chgData name="Christophe Lerot" userId="1ceec737-4651-43cc-8d99-be438d5aa37f" providerId="ADAL" clId="{AB629D7E-79CC-4CB8-BD13-A20B1ED61A78}" dt="2024-11-05T12:36:20.412" v="107" actId="1076"/>
        <pc:sldMkLst>
          <pc:docMk/>
          <pc:sldMk cId="94344" sldId="973"/>
        </pc:sldMkLst>
        <pc:spChg chg="mod">
          <ac:chgData name="Christophe Lerot" userId="1ceec737-4651-43cc-8d99-be438d5aa37f" providerId="ADAL" clId="{AB629D7E-79CC-4CB8-BD13-A20B1ED61A78}" dt="2024-11-05T12:36:06.093" v="105" actId="20577"/>
          <ac:spMkLst>
            <pc:docMk/>
            <pc:sldMk cId="94344" sldId="973"/>
            <ac:spMk id="60" creationId="{A8149690-E0B0-4ECA-B36A-B87F92E1BE1D}"/>
          </ac:spMkLst>
        </pc:spChg>
        <pc:picChg chg="mod">
          <ac:chgData name="Christophe Lerot" userId="1ceec737-4651-43cc-8d99-be438d5aa37f" providerId="ADAL" clId="{AB629D7E-79CC-4CB8-BD13-A20B1ED61A78}" dt="2024-11-05T12:36:20.412" v="107" actId="1076"/>
          <ac:picMkLst>
            <pc:docMk/>
            <pc:sldMk cId="94344" sldId="973"/>
            <ac:picMk id="9" creationId="{AFB0F2F7-4C0D-000D-93DB-AAD18671C0FF}"/>
          </ac:picMkLst>
        </pc:picChg>
      </pc:sldChg>
      <pc:sldChg chg="del">
        <pc:chgData name="Christophe Lerot" userId="1ceec737-4651-43cc-8d99-be438d5aa37f" providerId="ADAL" clId="{AB629D7E-79CC-4CB8-BD13-A20B1ED61A78}" dt="2024-11-05T12:22:24.385" v="40" actId="47"/>
        <pc:sldMkLst>
          <pc:docMk/>
          <pc:sldMk cId="4018129412" sldId="1063"/>
        </pc:sldMkLst>
      </pc:sldChg>
      <pc:sldChg chg="del">
        <pc:chgData name="Christophe Lerot" userId="1ceec737-4651-43cc-8d99-be438d5aa37f" providerId="ADAL" clId="{AB629D7E-79CC-4CB8-BD13-A20B1ED61A78}" dt="2024-11-05T12:22:38.517" v="43" actId="47"/>
        <pc:sldMkLst>
          <pc:docMk/>
          <pc:sldMk cId="2005485611" sldId="1064"/>
        </pc:sldMkLst>
      </pc:sldChg>
      <pc:sldChg chg="del">
        <pc:chgData name="Christophe Lerot" userId="1ceec737-4651-43cc-8d99-be438d5aa37f" providerId="ADAL" clId="{AB629D7E-79CC-4CB8-BD13-A20B1ED61A78}" dt="2024-11-05T12:22:43.938" v="44" actId="47"/>
        <pc:sldMkLst>
          <pc:docMk/>
          <pc:sldMk cId="2709883515" sldId="1065"/>
        </pc:sldMkLst>
      </pc:sldChg>
      <pc:sldChg chg="del">
        <pc:chgData name="Christophe Lerot" userId="1ceec737-4651-43cc-8d99-be438d5aa37f" providerId="ADAL" clId="{AB629D7E-79CC-4CB8-BD13-A20B1ED61A78}" dt="2024-11-05T12:22:33.581" v="41" actId="47"/>
        <pc:sldMkLst>
          <pc:docMk/>
          <pc:sldMk cId="1728326048" sldId="1069"/>
        </pc:sldMkLst>
      </pc:sldChg>
      <pc:sldChg chg="del">
        <pc:chgData name="Christophe Lerot" userId="1ceec737-4651-43cc-8d99-be438d5aa37f" providerId="ADAL" clId="{AB629D7E-79CC-4CB8-BD13-A20B1ED61A78}" dt="2024-11-05T12:21:43.464" v="37" actId="47"/>
        <pc:sldMkLst>
          <pc:docMk/>
          <pc:sldMk cId="3567907936" sldId="1074"/>
        </pc:sldMkLst>
      </pc:sldChg>
      <pc:sldChg chg="del">
        <pc:chgData name="Christophe Lerot" userId="1ceec737-4651-43cc-8d99-be438d5aa37f" providerId="ADAL" clId="{AB629D7E-79CC-4CB8-BD13-A20B1ED61A78}" dt="2024-11-05T12:23:05.834" v="53" actId="47"/>
        <pc:sldMkLst>
          <pc:docMk/>
          <pc:sldMk cId="1991260788" sldId="1075"/>
        </pc:sldMkLst>
      </pc:sldChg>
      <pc:sldChg chg="del">
        <pc:chgData name="Christophe Lerot" userId="1ceec737-4651-43cc-8d99-be438d5aa37f" providerId="ADAL" clId="{AB629D7E-79CC-4CB8-BD13-A20B1ED61A78}" dt="2024-11-05T12:23:54.395" v="66" actId="47"/>
        <pc:sldMkLst>
          <pc:docMk/>
          <pc:sldMk cId="2272090789" sldId="1078"/>
        </pc:sldMkLst>
      </pc:sldChg>
      <pc:sldChg chg="delSp modSp mod">
        <pc:chgData name="Christophe Lerot" userId="1ceec737-4651-43cc-8d99-be438d5aa37f" providerId="ADAL" clId="{AB629D7E-79CC-4CB8-BD13-A20B1ED61A78}" dt="2024-11-05T12:41:39.170" v="153" actId="1037"/>
        <pc:sldMkLst>
          <pc:docMk/>
          <pc:sldMk cId="2722315627" sldId="1079"/>
        </pc:sldMkLst>
        <pc:spChg chg="mod">
          <ac:chgData name="Christophe Lerot" userId="1ceec737-4651-43cc-8d99-be438d5aa37f" providerId="ADAL" clId="{AB629D7E-79CC-4CB8-BD13-A20B1ED61A78}" dt="2024-11-05T12:41:39.170" v="153" actId="1037"/>
          <ac:spMkLst>
            <pc:docMk/>
            <pc:sldMk cId="2722315627" sldId="1079"/>
            <ac:spMk id="11" creationId="{95B60D26-029F-6047-8DC7-AA93F4FDA1B4}"/>
          </ac:spMkLst>
        </pc:spChg>
      </pc:sldChg>
      <pc:sldChg chg="del">
        <pc:chgData name="Christophe Lerot" userId="1ceec737-4651-43cc-8d99-be438d5aa37f" providerId="ADAL" clId="{AB629D7E-79CC-4CB8-BD13-A20B1ED61A78}" dt="2024-11-05T12:22:35.714" v="42" actId="47"/>
        <pc:sldMkLst>
          <pc:docMk/>
          <pc:sldMk cId="1889240988" sldId="1082"/>
        </pc:sldMkLst>
      </pc:sldChg>
      <pc:sldChg chg="del">
        <pc:chgData name="Christophe Lerot" userId="1ceec737-4651-43cc-8d99-be438d5aa37f" providerId="ADAL" clId="{AB629D7E-79CC-4CB8-BD13-A20B1ED61A78}" dt="2024-11-05T12:23:03.786" v="52" actId="47"/>
        <pc:sldMkLst>
          <pc:docMk/>
          <pc:sldMk cId="185160668" sldId="1085"/>
        </pc:sldMkLst>
      </pc:sldChg>
      <pc:sldChg chg="del">
        <pc:chgData name="Christophe Lerot" userId="1ceec737-4651-43cc-8d99-be438d5aa37f" providerId="ADAL" clId="{AB629D7E-79CC-4CB8-BD13-A20B1ED61A78}" dt="2024-11-05T12:20:55.207" v="32" actId="47"/>
        <pc:sldMkLst>
          <pc:docMk/>
          <pc:sldMk cId="2682087424" sldId="1086"/>
        </pc:sldMkLst>
      </pc:sldChg>
      <pc:sldChg chg="modSp mod ord">
        <pc:chgData name="Christophe Lerot" userId="1ceec737-4651-43cc-8d99-be438d5aa37f" providerId="ADAL" clId="{AB629D7E-79CC-4CB8-BD13-A20B1ED61A78}" dt="2024-11-05T12:54:14.296" v="218" actId="1036"/>
        <pc:sldMkLst>
          <pc:docMk/>
          <pc:sldMk cId="1666941644" sldId="1090"/>
        </pc:sldMkLst>
      </pc:sldChg>
      <pc:sldChg chg="delSp modSp mod setBg">
        <pc:chgData name="Christophe Lerot" userId="1ceec737-4651-43cc-8d99-be438d5aa37f" providerId="ADAL" clId="{AB629D7E-79CC-4CB8-BD13-A20B1ED61A78}" dt="2024-11-05T12:52:25.807" v="196"/>
        <pc:sldMkLst>
          <pc:docMk/>
          <pc:sldMk cId="2232845282" sldId="1103"/>
        </pc:sldMkLst>
      </pc:sldChg>
      <pc:sldChg chg="del">
        <pc:chgData name="Christophe Lerot" userId="1ceec737-4651-43cc-8d99-be438d5aa37f" providerId="ADAL" clId="{AB629D7E-79CC-4CB8-BD13-A20B1ED61A78}" dt="2024-11-05T12:21:21.867" v="34" actId="47"/>
        <pc:sldMkLst>
          <pc:docMk/>
          <pc:sldMk cId="3574055591" sldId="1105"/>
        </pc:sldMkLst>
      </pc:sldChg>
      <pc:sldChg chg="del">
        <pc:chgData name="Christophe Lerot" userId="1ceec737-4651-43cc-8d99-be438d5aa37f" providerId="ADAL" clId="{AB629D7E-79CC-4CB8-BD13-A20B1ED61A78}" dt="2024-11-05T12:21:03.930" v="33" actId="47"/>
        <pc:sldMkLst>
          <pc:docMk/>
          <pc:sldMk cId="588442336" sldId="1107"/>
        </pc:sldMkLst>
      </pc:sldChg>
      <pc:sldChg chg="del">
        <pc:chgData name="Christophe Lerot" userId="1ceec737-4651-43cc-8d99-be438d5aa37f" providerId="ADAL" clId="{AB629D7E-79CC-4CB8-BD13-A20B1ED61A78}" dt="2024-11-05T12:23:08.158" v="54" actId="47"/>
        <pc:sldMkLst>
          <pc:docMk/>
          <pc:sldMk cId="475133410" sldId="1110"/>
        </pc:sldMkLst>
      </pc:sldChg>
      <pc:sldChg chg="del">
        <pc:chgData name="Christophe Lerot" userId="1ceec737-4651-43cc-8d99-be438d5aa37f" providerId="ADAL" clId="{AB629D7E-79CC-4CB8-BD13-A20B1ED61A78}" dt="2024-11-05T12:21:34.689" v="36" actId="47"/>
        <pc:sldMkLst>
          <pc:docMk/>
          <pc:sldMk cId="1108689080" sldId="1131"/>
        </pc:sldMkLst>
      </pc:sldChg>
      <pc:sldChg chg="del">
        <pc:chgData name="Christophe Lerot" userId="1ceec737-4651-43cc-8d99-be438d5aa37f" providerId="ADAL" clId="{AB629D7E-79CC-4CB8-BD13-A20B1ED61A78}" dt="2024-11-05T12:23:00.333" v="49" actId="47"/>
        <pc:sldMkLst>
          <pc:docMk/>
          <pc:sldMk cId="2119778681" sldId="1139"/>
        </pc:sldMkLst>
      </pc:sldChg>
      <pc:sldChg chg="del">
        <pc:chgData name="Christophe Lerot" userId="1ceec737-4651-43cc-8d99-be438d5aa37f" providerId="ADAL" clId="{AB629D7E-79CC-4CB8-BD13-A20B1ED61A78}" dt="2024-11-05T12:22:59.266" v="48" actId="47"/>
        <pc:sldMkLst>
          <pc:docMk/>
          <pc:sldMk cId="3749554718" sldId="1147"/>
        </pc:sldMkLst>
      </pc:sldChg>
      <pc:sldChg chg="del">
        <pc:chgData name="Christophe Lerot" userId="1ceec737-4651-43cc-8d99-be438d5aa37f" providerId="ADAL" clId="{AB629D7E-79CC-4CB8-BD13-A20B1ED61A78}" dt="2024-11-05T12:23:02.019" v="51" actId="47"/>
        <pc:sldMkLst>
          <pc:docMk/>
          <pc:sldMk cId="1047117232" sldId="1160"/>
        </pc:sldMkLst>
      </pc:sldChg>
      <pc:sldChg chg="modSp del mod">
        <pc:chgData name="Christophe Lerot" userId="1ceec737-4651-43cc-8d99-be438d5aa37f" providerId="ADAL" clId="{AB629D7E-79CC-4CB8-BD13-A20B1ED61A78}" dt="2024-11-05T12:35:32.576" v="92" actId="47"/>
        <pc:sldMkLst>
          <pc:docMk/>
          <pc:sldMk cId="1276448829" sldId="1162"/>
        </pc:sldMkLst>
      </pc:sldChg>
      <pc:sldChg chg="del">
        <pc:chgData name="Christophe Lerot" userId="1ceec737-4651-43cc-8d99-be438d5aa37f" providerId="ADAL" clId="{AB629D7E-79CC-4CB8-BD13-A20B1ED61A78}" dt="2024-11-05T12:23:01.153" v="50" actId="47"/>
        <pc:sldMkLst>
          <pc:docMk/>
          <pc:sldMk cId="1769254351" sldId="1163"/>
        </pc:sldMkLst>
      </pc:sldChg>
      <pc:sldChg chg="del">
        <pc:chgData name="Christophe Lerot" userId="1ceec737-4651-43cc-8d99-be438d5aa37f" providerId="ADAL" clId="{AB629D7E-79CC-4CB8-BD13-A20B1ED61A78}" dt="2024-11-05T12:22:53.823" v="47" actId="47"/>
        <pc:sldMkLst>
          <pc:docMk/>
          <pc:sldMk cId="232383173" sldId="1165"/>
        </pc:sldMkLst>
      </pc:sldChg>
      <pc:sldChg chg="del">
        <pc:chgData name="Christophe Lerot" userId="1ceec737-4651-43cc-8d99-be438d5aa37f" providerId="ADAL" clId="{AB629D7E-79CC-4CB8-BD13-A20B1ED61A78}" dt="2024-11-05T12:23:09.872" v="55" actId="47"/>
        <pc:sldMkLst>
          <pc:docMk/>
          <pc:sldMk cId="2922972910" sldId="1168"/>
        </pc:sldMkLst>
      </pc:sldChg>
      <pc:sldChg chg="del">
        <pc:chgData name="Christophe Lerot" userId="1ceec737-4651-43cc-8d99-be438d5aa37f" providerId="ADAL" clId="{AB629D7E-79CC-4CB8-BD13-A20B1ED61A78}" dt="2024-11-05T12:22:47.224" v="46" actId="47"/>
        <pc:sldMkLst>
          <pc:docMk/>
          <pc:sldMk cId="4096511680" sldId="1170"/>
        </pc:sldMkLst>
      </pc:sldChg>
      <pc:sldChg chg="del">
        <pc:chgData name="Christophe Lerot" userId="1ceec737-4651-43cc-8d99-be438d5aa37f" providerId="ADAL" clId="{AB629D7E-79CC-4CB8-BD13-A20B1ED61A78}" dt="2024-11-05T12:24:12.378" v="67" actId="47"/>
        <pc:sldMkLst>
          <pc:docMk/>
          <pc:sldMk cId="1788969627" sldId="1172"/>
        </pc:sldMkLst>
      </pc:sldChg>
      <pc:sldChg chg="del">
        <pc:chgData name="Christophe Lerot" userId="1ceec737-4651-43cc-8d99-be438d5aa37f" providerId="ADAL" clId="{AB629D7E-79CC-4CB8-BD13-A20B1ED61A78}" dt="2024-11-05T12:21:23.871" v="35" actId="47"/>
        <pc:sldMkLst>
          <pc:docMk/>
          <pc:sldMk cId="2009352192" sldId="1174"/>
        </pc:sldMkLst>
      </pc:sldChg>
      <pc:sldChg chg="del">
        <pc:chgData name="Christophe Lerot" userId="1ceec737-4651-43cc-8d99-be438d5aa37f" providerId="ADAL" clId="{AB629D7E-79CC-4CB8-BD13-A20B1ED61A78}" dt="2024-11-05T12:24:17.281" v="68" actId="47"/>
        <pc:sldMkLst>
          <pc:docMk/>
          <pc:sldMk cId="2171643126" sldId="1175"/>
        </pc:sldMkLst>
      </pc:sldChg>
      <pc:sldChg chg="del">
        <pc:chgData name="Christophe Lerot" userId="1ceec737-4651-43cc-8d99-be438d5aa37f" providerId="ADAL" clId="{AB629D7E-79CC-4CB8-BD13-A20B1ED61A78}" dt="2024-11-05T12:22:45.337" v="45" actId="47"/>
        <pc:sldMkLst>
          <pc:docMk/>
          <pc:sldMk cId="1465019918" sldId="1176"/>
        </pc:sldMkLst>
      </pc:sldChg>
      <pc:sldChg chg="addSp delSp add del mod setBg">
        <pc:chgData name="Christophe Lerot" userId="1ceec737-4651-43cc-8d99-be438d5aa37f" providerId="ADAL" clId="{AB629D7E-79CC-4CB8-BD13-A20B1ED61A78}" dt="2024-11-05T12:35:37.812" v="93" actId="47"/>
        <pc:sldMkLst>
          <pc:docMk/>
          <pc:sldMk cId="3909385907" sldId="1177"/>
        </pc:sldMkLst>
      </pc:sldChg>
      <pc:sldChg chg="del">
        <pc:chgData name="Christophe Lerot" userId="1ceec737-4651-43cc-8d99-be438d5aa37f" providerId="ADAL" clId="{AB629D7E-79CC-4CB8-BD13-A20B1ED61A78}" dt="2024-11-05T12:21:53.441" v="38" actId="47"/>
        <pc:sldMkLst>
          <pc:docMk/>
          <pc:sldMk cId="662135004" sldId="1178"/>
        </pc:sldMkLst>
      </pc:sldChg>
      <pc:sldChg chg="addSp delSp modSp add mod setBg">
        <pc:chgData name="Christophe Lerot" userId="1ceec737-4651-43cc-8d99-be438d5aa37f" providerId="ADAL" clId="{AB629D7E-79CC-4CB8-BD13-A20B1ED61A78}" dt="2024-11-05T12:39:22.159" v="120" actId="14100"/>
        <pc:sldMkLst>
          <pc:docMk/>
          <pc:sldMk cId="4221661752" sldId="1178"/>
        </pc:sldMkLst>
      </pc:sldChg>
      <pc:sldChg chg="delSp modSp add mod setBg">
        <pc:chgData name="Christophe Lerot" userId="1ceec737-4651-43cc-8d99-be438d5aa37f" providerId="ADAL" clId="{AB629D7E-79CC-4CB8-BD13-A20B1ED61A78}" dt="2024-11-05T12:53:25.150" v="201" actId="207"/>
        <pc:sldMkLst>
          <pc:docMk/>
          <pc:sldMk cId="3754321163" sldId="2147473089"/>
        </pc:sldMkLst>
      </pc:sldChg>
      <pc:sldChg chg="addSp delSp modSp new mod setBg">
        <pc:chgData name="Christophe Lerot" userId="1ceec737-4651-43cc-8d99-be438d5aa37f" providerId="ADAL" clId="{AB629D7E-79CC-4CB8-BD13-A20B1ED61A78}" dt="2024-11-05T12:52:48.698" v="199" actId="2085"/>
        <pc:sldMkLst>
          <pc:docMk/>
          <pc:sldMk cId="1545877880" sldId="2147473090"/>
        </pc:sldMkLst>
        <pc:spChg chg="add mod">
          <ac:chgData name="Christophe Lerot" userId="1ceec737-4651-43cc-8d99-be438d5aa37f" providerId="ADAL" clId="{AB629D7E-79CC-4CB8-BD13-A20B1ED61A78}" dt="2024-11-05T12:52:48.698" v="199" actId="2085"/>
          <ac:spMkLst>
            <pc:docMk/>
            <pc:sldMk cId="1545877880" sldId="2147473090"/>
            <ac:spMk id="6" creationId="{5D34FEF6-F820-90A6-CD69-7B1A1AA29A3F}"/>
          </ac:spMkLst>
        </pc:spChg>
        <pc:picChg chg="add mod">
          <ac:chgData name="Christophe Lerot" userId="1ceec737-4651-43cc-8d99-be438d5aa37f" providerId="ADAL" clId="{AB629D7E-79CC-4CB8-BD13-A20B1ED61A78}" dt="2024-11-05T12:51:22.733" v="194" actId="1076"/>
          <ac:picMkLst>
            <pc:docMk/>
            <pc:sldMk cId="1545877880" sldId="2147473090"/>
            <ac:picMk id="5" creationId="{FCB1C3BA-CF65-3C2E-14BE-CF34CD95F0A9}"/>
          </ac:picMkLst>
        </pc:picChg>
      </pc:sldChg>
      <pc:sldMasterChg chg="modSldLayout">
        <pc:chgData name="Christophe Lerot" userId="1ceec737-4651-43cc-8d99-be438d5aa37f" providerId="ADAL" clId="{AB629D7E-79CC-4CB8-BD13-A20B1ED61A78}" dt="2024-11-05T12:52:25.807" v="196"/>
        <pc:sldMasterMkLst>
          <pc:docMk/>
          <pc:sldMasterMk cId="915293649" sldId="2147483717"/>
        </pc:sldMasterMkLst>
        <pc:sldLayoutChg chg="setBg">
          <pc:chgData name="Christophe Lerot" userId="1ceec737-4651-43cc-8d99-be438d5aa37f" providerId="ADAL" clId="{AB629D7E-79CC-4CB8-BD13-A20B1ED61A78}" dt="2024-11-05T12:52:25.807" v="196"/>
          <pc:sldLayoutMkLst>
            <pc:docMk/>
            <pc:sldMasterMk cId="915293649" sldId="2147483717"/>
            <pc:sldLayoutMk cId="150881451" sldId="2147483718"/>
          </pc:sldLayoutMkLst>
        </pc:sldLayoutChg>
        <pc:sldLayoutChg chg="setBg">
          <pc:chgData name="Christophe Lerot" userId="1ceec737-4651-43cc-8d99-be438d5aa37f" providerId="ADAL" clId="{AB629D7E-79CC-4CB8-BD13-A20B1ED61A78}" dt="2024-11-05T12:52:25.807" v="196"/>
          <pc:sldLayoutMkLst>
            <pc:docMk/>
            <pc:sldMasterMk cId="915293649" sldId="2147483717"/>
            <pc:sldLayoutMk cId="695751345" sldId="2147483719"/>
          </pc:sldLayoutMkLst>
        </pc:sldLayoutChg>
        <pc:sldLayoutChg chg="setBg">
          <pc:chgData name="Christophe Lerot" userId="1ceec737-4651-43cc-8d99-be438d5aa37f" providerId="ADAL" clId="{AB629D7E-79CC-4CB8-BD13-A20B1ED61A78}" dt="2024-11-05T12:52:25.807" v="196"/>
          <pc:sldLayoutMkLst>
            <pc:docMk/>
            <pc:sldMasterMk cId="915293649" sldId="2147483717"/>
            <pc:sldLayoutMk cId="3957292802" sldId="2147483720"/>
          </pc:sldLayoutMkLst>
        </pc:sldLayoutChg>
        <pc:sldLayoutChg chg="setBg">
          <pc:chgData name="Christophe Lerot" userId="1ceec737-4651-43cc-8d99-be438d5aa37f" providerId="ADAL" clId="{AB629D7E-79CC-4CB8-BD13-A20B1ED61A78}" dt="2024-11-05T12:52:25.807" v="196"/>
          <pc:sldLayoutMkLst>
            <pc:docMk/>
            <pc:sldMasterMk cId="915293649" sldId="2147483717"/>
            <pc:sldLayoutMk cId="2786355357" sldId="2147483721"/>
          </pc:sldLayoutMkLst>
        </pc:sldLayoutChg>
        <pc:sldLayoutChg chg="setBg">
          <pc:chgData name="Christophe Lerot" userId="1ceec737-4651-43cc-8d99-be438d5aa37f" providerId="ADAL" clId="{AB629D7E-79CC-4CB8-BD13-A20B1ED61A78}" dt="2024-11-05T12:52:25.807" v="196"/>
          <pc:sldLayoutMkLst>
            <pc:docMk/>
            <pc:sldMasterMk cId="915293649" sldId="2147483717"/>
            <pc:sldLayoutMk cId="4223358027" sldId="2147483722"/>
          </pc:sldLayoutMkLst>
        </pc:sldLayoutChg>
        <pc:sldLayoutChg chg="setBg">
          <pc:chgData name="Christophe Lerot" userId="1ceec737-4651-43cc-8d99-be438d5aa37f" providerId="ADAL" clId="{AB629D7E-79CC-4CB8-BD13-A20B1ED61A78}" dt="2024-11-05T12:52:25.807" v="196"/>
          <pc:sldLayoutMkLst>
            <pc:docMk/>
            <pc:sldMasterMk cId="915293649" sldId="2147483717"/>
            <pc:sldLayoutMk cId="186979749" sldId="2147483723"/>
          </pc:sldLayoutMkLst>
        </pc:sldLayoutChg>
        <pc:sldLayoutChg chg="setBg">
          <pc:chgData name="Christophe Lerot" userId="1ceec737-4651-43cc-8d99-be438d5aa37f" providerId="ADAL" clId="{AB629D7E-79CC-4CB8-BD13-A20B1ED61A78}" dt="2024-11-05T12:52:25.807" v="196"/>
          <pc:sldLayoutMkLst>
            <pc:docMk/>
            <pc:sldMasterMk cId="915293649" sldId="2147483717"/>
            <pc:sldLayoutMk cId="4071324862" sldId="2147483726"/>
          </pc:sldLayoutMkLst>
        </pc:sldLayoutChg>
        <pc:sldLayoutChg chg="setBg">
          <pc:chgData name="Christophe Lerot" userId="1ceec737-4651-43cc-8d99-be438d5aa37f" providerId="ADAL" clId="{AB629D7E-79CC-4CB8-BD13-A20B1ED61A78}" dt="2024-11-05T12:52:25.807" v="196"/>
          <pc:sldLayoutMkLst>
            <pc:docMk/>
            <pc:sldMasterMk cId="915293649" sldId="2147483717"/>
            <pc:sldLayoutMk cId="1155082657" sldId="2147483727"/>
          </pc:sldLayoutMkLst>
        </pc:sldLayoutChg>
        <pc:sldLayoutChg chg="setBg">
          <pc:chgData name="Christophe Lerot" userId="1ceec737-4651-43cc-8d99-be438d5aa37f" providerId="ADAL" clId="{AB629D7E-79CC-4CB8-BD13-A20B1ED61A78}" dt="2024-11-05T12:52:25.807" v="196"/>
          <pc:sldLayoutMkLst>
            <pc:docMk/>
            <pc:sldMasterMk cId="915293649" sldId="2147483717"/>
            <pc:sldLayoutMk cId="2670235630" sldId="2147483742"/>
          </pc:sldLayoutMkLst>
        </pc:sldLayoutChg>
      </pc:sldMasterChg>
      <pc:sldMasterChg chg="delSldLayout modSldLayout">
        <pc:chgData name="Christophe Lerot" userId="1ceec737-4651-43cc-8d99-be438d5aa37f" providerId="ADAL" clId="{AB629D7E-79CC-4CB8-BD13-A20B1ED61A78}" dt="2024-11-05T12:52:25.807" v="196"/>
        <pc:sldMasterMkLst>
          <pc:docMk/>
          <pc:sldMasterMk cId="3166135873" sldId="2147483745"/>
        </pc:sldMasterMkLst>
        <pc:sldLayoutChg chg="del">
          <pc:chgData name="Christophe Lerot" userId="1ceec737-4651-43cc-8d99-be438d5aa37f" providerId="ADAL" clId="{AB629D7E-79CC-4CB8-BD13-A20B1ED61A78}" dt="2024-11-05T12:23:08.158" v="54" actId="47"/>
          <pc:sldLayoutMkLst>
            <pc:docMk/>
            <pc:sldMasterMk cId="3166135873" sldId="2147483745"/>
            <pc:sldLayoutMk cId="107111843" sldId="2147483748"/>
          </pc:sldLayoutMkLst>
        </pc:sldLayoutChg>
        <pc:sldLayoutChg chg="setBg">
          <pc:chgData name="Christophe Lerot" userId="1ceec737-4651-43cc-8d99-be438d5aa37f" providerId="ADAL" clId="{AB629D7E-79CC-4CB8-BD13-A20B1ED61A78}" dt="2024-11-05T12:52:25.807" v="196"/>
          <pc:sldLayoutMkLst>
            <pc:docMk/>
            <pc:sldMasterMk cId="3166135873" sldId="2147483745"/>
            <pc:sldLayoutMk cId="3133189627" sldId="2147483751"/>
          </pc:sldLayoutMkLst>
        </pc:sldLayoutChg>
        <pc:sldLayoutChg chg="setBg">
          <pc:chgData name="Christophe Lerot" userId="1ceec737-4651-43cc-8d99-be438d5aa37f" providerId="ADAL" clId="{AB629D7E-79CC-4CB8-BD13-A20B1ED61A78}" dt="2024-11-05T12:52:25.807" v="196"/>
          <pc:sldLayoutMkLst>
            <pc:docMk/>
            <pc:sldMasterMk cId="3166135873" sldId="2147483745"/>
            <pc:sldLayoutMk cId="808964171" sldId="2147483752"/>
          </pc:sldLayoutMkLst>
        </pc:sldLayoutChg>
      </pc:sldMasterChg>
    </pc:docChg>
  </pc:docChgLst>
  <pc:docChgLst>
    <pc:chgData name="Christophe Lerot" userId="S::christophe.lerot@constellr.com::1ceec737-4651-43cc-8d99-be438d5aa37f" providerId="AD" clId="Web-{5DFC4013-DFD8-4AAC-EA48-180566646E73}"/>
    <pc:docChg chg="modSld">
      <pc:chgData name="Christophe Lerot" userId="S::christophe.lerot@constellr.com::1ceec737-4651-43cc-8d99-be438d5aa37f" providerId="AD" clId="Web-{5DFC4013-DFD8-4AAC-EA48-180566646E73}" dt="2024-11-26T17:29:35.973" v="4" actId="20577"/>
      <pc:docMkLst>
        <pc:docMk/>
      </pc:docMkLst>
      <pc:sldChg chg="modSp">
        <pc:chgData name="Christophe Lerot" userId="S::christophe.lerot@constellr.com::1ceec737-4651-43cc-8d99-be438d5aa37f" providerId="AD" clId="Web-{5DFC4013-DFD8-4AAC-EA48-180566646E73}" dt="2024-11-26T17:29:11.535" v="1" actId="20577"/>
        <pc:sldMkLst>
          <pc:docMk/>
          <pc:sldMk cId="3776596823" sldId="1080"/>
        </pc:sldMkLst>
        <pc:spChg chg="mod">
          <ac:chgData name="Christophe Lerot" userId="S::christophe.lerot@constellr.com::1ceec737-4651-43cc-8d99-be438d5aa37f" providerId="AD" clId="Web-{5DFC4013-DFD8-4AAC-EA48-180566646E73}" dt="2024-11-26T17:29:11.535" v="1" actId="20577"/>
          <ac:spMkLst>
            <pc:docMk/>
            <pc:sldMk cId="3776596823" sldId="1080"/>
            <ac:spMk id="69" creationId="{17F43824-3761-BC1E-750F-CAF06AE23F5B}"/>
          </ac:spMkLst>
        </pc:spChg>
      </pc:sldChg>
      <pc:sldChg chg="modSp">
        <pc:chgData name="Christophe Lerot" userId="S::christophe.lerot@constellr.com::1ceec737-4651-43cc-8d99-be438d5aa37f" providerId="AD" clId="Web-{5DFC4013-DFD8-4AAC-EA48-180566646E73}" dt="2024-11-26T17:29:35.973" v="4" actId="20577"/>
        <pc:sldMkLst>
          <pc:docMk/>
          <pc:sldMk cId="1788230211" sldId="2147473094"/>
        </pc:sldMkLst>
        <pc:spChg chg="mod">
          <ac:chgData name="Christophe Lerot" userId="S::christophe.lerot@constellr.com::1ceec737-4651-43cc-8d99-be438d5aa37f" providerId="AD" clId="Web-{5DFC4013-DFD8-4AAC-EA48-180566646E73}" dt="2024-11-26T17:29:35.973" v="4" actId="20577"/>
          <ac:spMkLst>
            <pc:docMk/>
            <pc:sldMk cId="1788230211" sldId="2147473094"/>
            <ac:spMk id="5" creationId="{E9847777-30AD-7F6B-A960-8F04088986E6}"/>
          </ac:spMkLst>
        </pc:spChg>
      </pc:sldChg>
    </pc:docChg>
  </pc:docChgLst>
  <pc:docChgLst>
    <pc:chgData name="Christophe Lerot" userId="S::christophe.lerot@constellr.com::1ceec737-4651-43cc-8d99-be438d5aa37f" providerId="AD" clId="Web-{1D657AFA-2693-CD92-D970-8FB1709A451B}"/>
    <pc:docChg chg="modSld">
      <pc:chgData name="Christophe Lerot" userId="S::christophe.lerot@constellr.com::1ceec737-4651-43cc-8d99-be438d5aa37f" providerId="AD" clId="Web-{1D657AFA-2693-CD92-D970-8FB1709A451B}" dt="2024-11-25T09:16:17.873" v="0" actId="1076"/>
      <pc:docMkLst>
        <pc:docMk/>
      </pc:docMkLst>
      <pc:sldChg chg="modSp">
        <pc:chgData name="Christophe Lerot" userId="S::christophe.lerot@constellr.com::1ceec737-4651-43cc-8d99-be438d5aa37f" providerId="AD" clId="Web-{1D657AFA-2693-CD92-D970-8FB1709A451B}" dt="2024-11-25T09:16:17.873" v="0" actId="1076"/>
        <pc:sldMkLst>
          <pc:docMk/>
          <pc:sldMk cId="2722315627" sldId="1079"/>
        </pc:sldMkLst>
        <pc:picChg chg="mod">
          <ac:chgData name="Christophe Lerot" userId="S::christophe.lerot@constellr.com::1ceec737-4651-43cc-8d99-be438d5aa37f" providerId="AD" clId="Web-{1D657AFA-2693-CD92-D970-8FB1709A451B}" dt="2024-11-25T09:16:17.873" v="0" actId="1076"/>
          <ac:picMkLst>
            <pc:docMk/>
            <pc:sldMk cId="2722315627" sldId="1079"/>
            <ac:picMk id="9" creationId="{E89F9C14-460E-C945-814F-8BD5A48D6442}"/>
          </ac:picMkLst>
        </pc:picChg>
      </pc:sldChg>
    </pc:docChg>
  </pc:docChgLst>
  <pc:docChgLst>
    <pc:chgData name="Imaduddin Humayun" userId="82143b48-8052-45c1-aa99-d2200f6e8356" providerId="ADAL" clId="{8A9B3F7B-690D-FE4E-A92E-A99E07AAAE4F}"/>
    <pc:docChg chg="custSel modSld">
      <pc:chgData name="Imaduddin Humayun" userId="82143b48-8052-45c1-aa99-d2200f6e8356" providerId="ADAL" clId="{8A9B3F7B-690D-FE4E-A92E-A99E07AAAE4F}" dt="2024-11-25T09:36:28.089" v="13" actId="27636"/>
      <pc:docMkLst>
        <pc:docMk/>
      </pc:docMkLst>
      <pc:sldChg chg="modSp mod">
        <pc:chgData name="Imaduddin Humayun" userId="82143b48-8052-45c1-aa99-d2200f6e8356" providerId="ADAL" clId="{8A9B3F7B-690D-FE4E-A92E-A99E07AAAE4F}" dt="2024-11-25T09:36:27.963" v="4" actId="27636"/>
        <pc:sldMkLst>
          <pc:docMk/>
          <pc:sldMk cId="330641209" sldId="959"/>
        </pc:sldMkLst>
        <pc:spChg chg="mod">
          <ac:chgData name="Imaduddin Humayun" userId="82143b48-8052-45c1-aa99-d2200f6e8356" providerId="ADAL" clId="{8A9B3F7B-690D-FE4E-A92E-A99E07AAAE4F}" dt="2024-11-25T09:36:27.963" v="4" actId="27636"/>
          <ac:spMkLst>
            <pc:docMk/>
            <pc:sldMk cId="330641209" sldId="959"/>
            <ac:spMk id="10" creationId="{73B27980-E321-6C2B-5AF6-6C235D6653E7}"/>
          </ac:spMkLst>
        </pc:spChg>
      </pc:sldChg>
      <pc:sldChg chg="modSp mod">
        <pc:chgData name="Imaduddin Humayun" userId="82143b48-8052-45c1-aa99-d2200f6e8356" providerId="ADAL" clId="{8A9B3F7B-690D-FE4E-A92E-A99E07AAAE4F}" dt="2024-11-25T09:36:27.937" v="1" actId="27636"/>
        <pc:sldMkLst>
          <pc:docMk/>
          <pc:sldMk cId="3776596823" sldId="1080"/>
        </pc:sldMkLst>
        <pc:spChg chg="mod">
          <ac:chgData name="Imaduddin Humayun" userId="82143b48-8052-45c1-aa99-d2200f6e8356" providerId="ADAL" clId="{8A9B3F7B-690D-FE4E-A92E-A99E07AAAE4F}" dt="2024-11-25T09:36:27.937" v="1" actId="27636"/>
          <ac:spMkLst>
            <pc:docMk/>
            <pc:sldMk cId="3776596823" sldId="1080"/>
            <ac:spMk id="14" creationId="{53CE934C-4E93-B1FC-77F5-4EF95A70D78B}"/>
          </ac:spMkLst>
        </pc:spChg>
      </pc:sldChg>
      <pc:sldChg chg="modSp mod">
        <pc:chgData name="Imaduddin Humayun" userId="82143b48-8052-45c1-aa99-d2200f6e8356" providerId="ADAL" clId="{8A9B3F7B-690D-FE4E-A92E-A99E07AAAE4F}" dt="2024-11-25T09:36:27.946" v="2" actId="27636"/>
        <pc:sldMkLst>
          <pc:docMk/>
          <pc:sldMk cId="383146003" sldId="1091"/>
        </pc:sldMkLst>
        <pc:spChg chg="mod">
          <ac:chgData name="Imaduddin Humayun" userId="82143b48-8052-45c1-aa99-d2200f6e8356" providerId="ADAL" clId="{8A9B3F7B-690D-FE4E-A92E-A99E07AAAE4F}" dt="2024-11-25T09:36:27.946" v="2" actId="27636"/>
          <ac:spMkLst>
            <pc:docMk/>
            <pc:sldMk cId="383146003" sldId="1091"/>
            <ac:spMk id="8" creationId="{E90647CB-DFB3-D23E-EB3C-9810355E7FC0}"/>
          </ac:spMkLst>
        </pc:spChg>
      </pc:sldChg>
      <pc:sldChg chg="modSp mod">
        <pc:chgData name="Imaduddin Humayun" userId="82143b48-8052-45c1-aa99-d2200f6e8356" providerId="ADAL" clId="{8A9B3F7B-690D-FE4E-A92E-A99E07AAAE4F}" dt="2024-11-25T09:36:27.954" v="3" actId="27636"/>
        <pc:sldMkLst>
          <pc:docMk/>
          <pc:sldMk cId="3846767903" sldId="1098"/>
        </pc:sldMkLst>
        <pc:spChg chg="mod">
          <ac:chgData name="Imaduddin Humayun" userId="82143b48-8052-45c1-aa99-d2200f6e8356" providerId="ADAL" clId="{8A9B3F7B-690D-FE4E-A92E-A99E07AAAE4F}" dt="2024-11-25T09:36:27.954" v="3" actId="27636"/>
          <ac:spMkLst>
            <pc:docMk/>
            <pc:sldMk cId="3846767903" sldId="1098"/>
            <ac:spMk id="1028" creationId="{1B91138B-3585-51D5-D7A0-1738ED4CBD5D}"/>
          </ac:spMkLst>
        </pc:spChg>
      </pc:sldChg>
      <pc:sldChg chg="modSp mod">
        <pc:chgData name="Imaduddin Humayun" userId="82143b48-8052-45c1-aa99-d2200f6e8356" providerId="ADAL" clId="{8A9B3F7B-690D-FE4E-A92E-A99E07AAAE4F}" dt="2024-11-25T09:36:28.037" v="10" actId="27636"/>
        <pc:sldMkLst>
          <pc:docMk/>
          <pc:sldMk cId="4221661752" sldId="1178"/>
        </pc:sldMkLst>
        <pc:spChg chg="mod">
          <ac:chgData name="Imaduddin Humayun" userId="82143b48-8052-45c1-aa99-d2200f6e8356" providerId="ADAL" clId="{8A9B3F7B-690D-FE4E-A92E-A99E07AAAE4F}" dt="2024-11-25T09:36:28.037" v="10" actId="27636"/>
          <ac:spMkLst>
            <pc:docMk/>
            <pc:sldMk cId="4221661752" sldId="1178"/>
            <ac:spMk id="6" creationId="{3B852C67-4EC4-566A-37B1-D4AC2324C0AD}"/>
          </ac:spMkLst>
        </pc:spChg>
      </pc:sldChg>
      <pc:sldChg chg="modSp mod">
        <pc:chgData name="Imaduddin Humayun" userId="82143b48-8052-45c1-aa99-d2200f6e8356" providerId="ADAL" clId="{8A9B3F7B-690D-FE4E-A92E-A99E07AAAE4F}" dt="2024-11-25T09:36:27.977" v="6" actId="27636"/>
        <pc:sldMkLst>
          <pc:docMk/>
          <pc:sldMk cId="3754321163" sldId="2147473089"/>
        </pc:sldMkLst>
        <pc:spChg chg="mod">
          <ac:chgData name="Imaduddin Humayun" userId="82143b48-8052-45c1-aa99-d2200f6e8356" providerId="ADAL" clId="{8A9B3F7B-690D-FE4E-A92E-A99E07AAAE4F}" dt="2024-11-25T09:36:27.977" v="6" actId="27636"/>
          <ac:spMkLst>
            <pc:docMk/>
            <pc:sldMk cId="3754321163" sldId="2147473089"/>
            <ac:spMk id="3" creationId="{573CFB3A-641A-F9E9-1F0A-515FD24E29C5}"/>
          </ac:spMkLst>
        </pc:spChg>
      </pc:sldChg>
      <pc:sldChg chg="modSp mod">
        <pc:chgData name="Imaduddin Humayun" userId="82143b48-8052-45c1-aa99-d2200f6e8356" providerId="ADAL" clId="{8A9B3F7B-690D-FE4E-A92E-A99E07AAAE4F}" dt="2024-11-25T09:36:27.972" v="5" actId="27636"/>
        <pc:sldMkLst>
          <pc:docMk/>
          <pc:sldMk cId="1545877880" sldId="2147473090"/>
        </pc:sldMkLst>
        <pc:spChg chg="mod">
          <ac:chgData name="Imaduddin Humayun" userId="82143b48-8052-45c1-aa99-d2200f6e8356" providerId="ADAL" clId="{8A9B3F7B-690D-FE4E-A92E-A99E07AAAE4F}" dt="2024-11-25T09:36:27.972" v="5" actId="27636"/>
          <ac:spMkLst>
            <pc:docMk/>
            <pc:sldMk cId="1545877880" sldId="2147473090"/>
            <ac:spMk id="3" creationId="{52C157C5-1307-8120-24A0-6C5D52FADE21}"/>
          </ac:spMkLst>
        </pc:spChg>
      </pc:sldChg>
      <pc:sldChg chg="modSp mod">
        <pc:chgData name="Imaduddin Humayun" userId="82143b48-8052-45c1-aa99-d2200f6e8356" providerId="ADAL" clId="{8A9B3F7B-690D-FE4E-A92E-A99E07AAAE4F}" dt="2024-11-25T09:36:27.928" v="0" actId="27636"/>
        <pc:sldMkLst>
          <pc:docMk/>
          <pc:sldMk cId="2293015315" sldId="2147473091"/>
        </pc:sldMkLst>
        <pc:spChg chg="mod">
          <ac:chgData name="Imaduddin Humayun" userId="82143b48-8052-45c1-aa99-d2200f6e8356" providerId="ADAL" clId="{8A9B3F7B-690D-FE4E-A92E-A99E07AAAE4F}" dt="2024-11-25T09:36:27.928" v="0" actId="27636"/>
          <ac:spMkLst>
            <pc:docMk/>
            <pc:sldMk cId="2293015315" sldId="2147473091"/>
            <ac:spMk id="25" creationId="{6AEBE027-770D-04F8-19B3-6AF334175348}"/>
          </ac:spMkLst>
        </pc:spChg>
      </pc:sldChg>
      <pc:sldChg chg="modSp mod">
        <pc:chgData name="Imaduddin Humayun" userId="82143b48-8052-45c1-aa99-d2200f6e8356" providerId="ADAL" clId="{8A9B3F7B-690D-FE4E-A92E-A99E07AAAE4F}" dt="2024-11-25T09:36:28.014" v="9" actId="27636"/>
        <pc:sldMkLst>
          <pc:docMk/>
          <pc:sldMk cId="3598046251" sldId="2147473093"/>
        </pc:sldMkLst>
        <pc:spChg chg="mod">
          <ac:chgData name="Imaduddin Humayun" userId="82143b48-8052-45c1-aa99-d2200f6e8356" providerId="ADAL" clId="{8A9B3F7B-690D-FE4E-A92E-A99E07AAAE4F}" dt="2024-11-25T09:36:28.014" v="9" actId="27636"/>
          <ac:spMkLst>
            <pc:docMk/>
            <pc:sldMk cId="3598046251" sldId="2147473093"/>
            <ac:spMk id="21" creationId="{387E899D-33BC-37CF-9FC8-7EA0737FC0ED}"/>
          </ac:spMkLst>
        </pc:spChg>
      </pc:sldChg>
      <pc:sldChg chg="modSp mod">
        <pc:chgData name="Imaduddin Humayun" userId="82143b48-8052-45c1-aa99-d2200f6e8356" providerId="ADAL" clId="{8A9B3F7B-690D-FE4E-A92E-A99E07AAAE4F}" dt="2024-11-25T09:36:27.989" v="7" actId="27636"/>
        <pc:sldMkLst>
          <pc:docMk/>
          <pc:sldMk cId="1788230211" sldId="2147473094"/>
        </pc:sldMkLst>
        <pc:spChg chg="mod">
          <ac:chgData name="Imaduddin Humayun" userId="82143b48-8052-45c1-aa99-d2200f6e8356" providerId="ADAL" clId="{8A9B3F7B-690D-FE4E-A92E-A99E07AAAE4F}" dt="2024-11-25T09:36:27.989" v="7" actId="27636"/>
          <ac:spMkLst>
            <pc:docMk/>
            <pc:sldMk cId="1788230211" sldId="2147473094"/>
            <ac:spMk id="3" creationId="{6CA2673A-732F-3D6A-30ED-E8915D476592}"/>
          </ac:spMkLst>
        </pc:spChg>
      </pc:sldChg>
      <pc:sldChg chg="modSp mod">
        <pc:chgData name="Imaduddin Humayun" userId="82143b48-8052-45c1-aa99-d2200f6e8356" providerId="ADAL" clId="{8A9B3F7B-690D-FE4E-A92E-A99E07AAAE4F}" dt="2024-11-25T09:36:28.004" v="8" actId="27636"/>
        <pc:sldMkLst>
          <pc:docMk/>
          <pc:sldMk cId="636709181" sldId="2147473095"/>
        </pc:sldMkLst>
        <pc:spChg chg="mod">
          <ac:chgData name="Imaduddin Humayun" userId="82143b48-8052-45c1-aa99-d2200f6e8356" providerId="ADAL" clId="{8A9B3F7B-690D-FE4E-A92E-A99E07AAAE4F}" dt="2024-11-25T09:36:28.004" v="8" actId="27636"/>
          <ac:spMkLst>
            <pc:docMk/>
            <pc:sldMk cId="636709181" sldId="2147473095"/>
            <ac:spMk id="3" creationId="{4F8A8B1A-76B4-15C0-07EA-6BB0A72F560E}"/>
          </ac:spMkLst>
        </pc:spChg>
      </pc:sldChg>
      <pc:sldChg chg="modSp mod">
        <pc:chgData name="Imaduddin Humayun" userId="82143b48-8052-45c1-aa99-d2200f6e8356" providerId="ADAL" clId="{8A9B3F7B-690D-FE4E-A92E-A99E07AAAE4F}" dt="2024-11-25T09:36:28.047" v="11" actId="27636"/>
        <pc:sldMkLst>
          <pc:docMk/>
          <pc:sldMk cId="3967600474" sldId="2147473096"/>
        </pc:sldMkLst>
        <pc:spChg chg="mod">
          <ac:chgData name="Imaduddin Humayun" userId="82143b48-8052-45c1-aa99-d2200f6e8356" providerId="ADAL" clId="{8A9B3F7B-690D-FE4E-A92E-A99E07AAAE4F}" dt="2024-11-25T09:36:28.047" v="11" actId="27636"/>
          <ac:spMkLst>
            <pc:docMk/>
            <pc:sldMk cId="3967600474" sldId="2147473096"/>
            <ac:spMk id="6" creationId="{71A698A3-7F2A-6E07-E686-D1C186B5436D}"/>
          </ac:spMkLst>
        </pc:spChg>
      </pc:sldChg>
      <pc:sldChg chg="modSp mod">
        <pc:chgData name="Imaduddin Humayun" userId="82143b48-8052-45c1-aa99-d2200f6e8356" providerId="ADAL" clId="{8A9B3F7B-690D-FE4E-A92E-A99E07AAAE4F}" dt="2024-11-25T09:36:28.089" v="13" actId="27636"/>
        <pc:sldMkLst>
          <pc:docMk/>
          <pc:sldMk cId="285400235" sldId="2147473097"/>
        </pc:sldMkLst>
        <pc:spChg chg="mod">
          <ac:chgData name="Imaduddin Humayun" userId="82143b48-8052-45c1-aa99-d2200f6e8356" providerId="ADAL" clId="{8A9B3F7B-690D-FE4E-A92E-A99E07AAAE4F}" dt="2024-11-25T09:36:28.089" v="13" actId="27636"/>
          <ac:spMkLst>
            <pc:docMk/>
            <pc:sldMk cId="285400235" sldId="2147473097"/>
            <ac:spMk id="1028" creationId="{DC52951F-D6D1-4D99-779D-01DBF082E062}"/>
          </ac:spMkLst>
        </pc:spChg>
      </pc:sldChg>
      <pc:sldChg chg="modSp mod">
        <pc:chgData name="Imaduddin Humayun" userId="82143b48-8052-45c1-aa99-d2200f6e8356" providerId="ADAL" clId="{8A9B3F7B-690D-FE4E-A92E-A99E07AAAE4F}" dt="2024-11-25T09:36:28.080" v="12" actId="27636"/>
        <pc:sldMkLst>
          <pc:docMk/>
          <pc:sldMk cId="210923332" sldId="2147473100"/>
        </pc:sldMkLst>
        <pc:spChg chg="mod">
          <ac:chgData name="Imaduddin Humayun" userId="82143b48-8052-45c1-aa99-d2200f6e8356" providerId="ADAL" clId="{8A9B3F7B-690D-FE4E-A92E-A99E07AAAE4F}" dt="2024-11-25T09:36:28.080" v="12" actId="27636"/>
          <ac:spMkLst>
            <pc:docMk/>
            <pc:sldMk cId="210923332" sldId="2147473100"/>
            <ac:spMk id="14" creationId="{A947EB63-ADDF-7CE3-7289-59B5FA0371C2}"/>
          </ac:spMkLst>
        </pc:spChg>
      </pc:sldChg>
    </pc:docChg>
  </pc:docChgLst>
  <pc:docChgLst>
    <pc:chgData name="Christophe Lerot" userId="S::christophe.lerot@constellr.com::1ceec737-4651-43cc-8d99-be438d5aa37f" providerId="AD" clId="Web-{9619AB3F-ED77-42F0-0665-9B937A15ECE5}"/>
    <pc:docChg chg="modSld">
      <pc:chgData name="Christophe Lerot" userId="S::christophe.lerot@constellr.com::1ceec737-4651-43cc-8d99-be438d5aa37f" providerId="AD" clId="Web-{9619AB3F-ED77-42F0-0665-9B937A15ECE5}" dt="2024-11-25T16:18:58.217" v="0"/>
      <pc:docMkLst>
        <pc:docMk/>
      </pc:docMkLst>
      <pc:sldChg chg="delSp">
        <pc:chgData name="Christophe Lerot" userId="S::christophe.lerot@constellr.com::1ceec737-4651-43cc-8d99-be438d5aa37f" providerId="AD" clId="Web-{9619AB3F-ED77-42F0-0665-9B937A15ECE5}" dt="2024-11-25T16:18:58.217" v="0"/>
        <pc:sldMkLst>
          <pc:docMk/>
          <pc:sldMk cId="330641209" sldId="959"/>
        </pc:sldMkLst>
        <pc:spChg chg="del">
          <ac:chgData name="Christophe Lerot" userId="S::christophe.lerot@constellr.com::1ceec737-4651-43cc-8d99-be438d5aa37f" providerId="AD" clId="Web-{9619AB3F-ED77-42F0-0665-9B937A15ECE5}" dt="2024-11-25T16:18:58.217" v="0"/>
          <ac:spMkLst>
            <pc:docMk/>
            <pc:sldMk cId="330641209" sldId="959"/>
            <ac:spMk id="10" creationId="{73B27980-E321-6C2B-5AF6-6C235D6653E7}"/>
          </ac:spMkLst>
        </pc:spChg>
      </pc:sldChg>
    </pc:docChg>
  </pc:docChgLst>
  <pc:docChgLst>
    <pc:chgData name="Max Gulde" userId="8a94856c-0e23-4cea-a56e-5e69679ff3b7" providerId="ADAL" clId="{BAF9B093-50D2-4FAF-BE5F-E67064FD464D}"/>
    <pc:docChg chg="undo custSel addSld delSld modSld">
      <pc:chgData name="Max Gulde" userId="8a94856c-0e23-4cea-a56e-5e69679ff3b7" providerId="ADAL" clId="{BAF9B093-50D2-4FAF-BE5F-E67064FD464D}" dt="2023-09-29T06:55:27.477" v="262" actId="47"/>
      <pc:docMkLst>
        <pc:docMk/>
      </pc:docMkLst>
      <pc:sldChg chg="add del">
        <pc:chgData name="Max Gulde" userId="8a94856c-0e23-4cea-a56e-5e69679ff3b7" providerId="ADAL" clId="{BAF9B093-50D2-4FAF-BE5F-E67064FD464D}" dt="2023-09-29T06:55:27.477" v="262" actId="47"/>
        <pc:sldMkLst>
          <pc:docMk/>
          <pc:sldMk cId="3929573870" sldId="293"/>
        </pc:sldMkLst>
      </pc:sldChg>
      <pc:sldChg chg="delSp modSp add del mod delCm">
        <pc:chgData name="Max Gulde" userId="8a94856c-0e23-4cea-a56e-5e69679ff3b7" providerId="ADAL" clId="{BAF9B093-50D2-4FAF-BE5F-E67064FD464D}" dt="2023-09-29T06:52:18.091" v="176" actId="47"/>
        <pc:sldMkLst>
          <pc:docMk/>
          <pc:sldMk cId="4011864002" sldId="107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Max Gulde" userId="8a94856c-0e23-4cea-a56e-5e69679ff3b7" providerId="ADAL" clId="{BAF9B093-50D2-4FAF-BE5F-E67064FD464D}" dt="2023-09-29T06:46:16.427" v="9"/>
              <pc2:cmMkLst xmlns:pc2="http://schemas.microsoft.com/office/powerpoint/2019/9/main/command">
                <pc:docMk/>
                <pc:sldMk cId="4011864002" sldId="1071"/>
                <pc2:cmMk id="{838805AF-A91A-8D40-B8D7-B7DE0BA99A65}"/>
              </pc2:cmMkLst>
            </pc226:cmChg>
          </p:ext>
        </pc:extLst>
      </pc:sldChg>
      <pc:sldChg chg="modSp mod">
        <pc:chgData name="Max Gulde" userId="8a94856c-0e23-4cea-a56e-5e69679ff3b7" providerId="ADAL" clId="{BAF9B093-50D2-4FAF-BE5F-E67064FD464D}" dt="2023-09-29T06:54:48.893" v="254" actId="207"/>
        <pc:sldMkLst>
          <pc:docMk/>
          <pc:sldMk cId="3567907936" sldId="1074"/>
        </pc:sldMkLst>
      </pc:sldChg>
      <pc:sldChg chg="modSp mod">
        <pc:chgData name="Max Gulde" userId="8a94856c-0e23-4cea-a56e-5e69679ff3b7" providerId="ADAL" clId="{BAF9B093-50D2-4FAF-BE5F-E67064FD464D}" dt="2023-09-29T06:45:21.913" v="7" actId="20577"/>
        <pc:sldMkLst>
          <pc:docMk/>
          <pc:sldMk cId="475133410" sldId="1110"/>
        </pc:sldMkLst>
      </pc:sldChg>
      <pc:sldChg chg="add del setBg">
        <pc:chgData name="Max Gulde" userId="8a94856c-0e23-4cea-a56e-5e69679ff3b7" providerId="ADAL" clId="{BAF9B093-50D2-4FAF-BE5F-E67064FD464D}" dt="2023-09-29T06:46:57.302" v="21"/>
        <pc:sldMkLst>
          <pc:docMk/>
          <pc:sldMk cId="1568717193" sldId="1177"/>
        </pc:sldMkLst>
      </pc:sldChg>
      <pc:sldChg chg="addSp delSp modSp add mod">
        <pc:chgData name="Max Gulde" userId="8a94856c-0e23-4cea-a56e-5e69679ff3b7" providerId="ADAL" clId="{BAF9B093-50D2-4FAF-BE5F-E67064FD464D}" dt="2023-09-29T06:53:46.113" v="249" actId="113"/>
        <pc:sldMkLst>
          <pc:docMk/>
          <pc:sldMk cId="3909385907" sldId="1177"/>
        </pc:sldMkLst>
      </pc:sldChg>
      <pc:sldChg chg="addSp delSp modSp add mod">
        <pc:chgData name="Max Gulde" userId="8a94856c-0e23-4cea-a56e-5e69679ff3b7" providerId="ADAL" clId="{BAF9B093-50D2-4FAF-BE5F-E67064FD464D}" dt="2023-09-29T06:55:19.488" v="261" actId="14734"/>
        <pc:sldMkLst>
          <pc:docMk/>
          <pc:sldMk cId="662135004" sldId="1178"/>
        </pc:sldMkLst>
      </pc:sldChg>
      <pc:sldMasterChg chg="delSldLayout">
        <pc:chgData name="Max Gulde" userId="8a94856c-0e23-4cea-a56e-5e69679ff3b7" providerId="ADAL" clId="{BAF9B093-50D2-4FAF-BE5F-E67064FD464D}" dt="2023-09-29T06:55:27.477" v="262" actId="47"/>
        <pc:sldMasterMkLst>
          <pc:docMk/>
          <pc:sldMasterMk cId="3166135873" sldId="2147483745"/>
        </pc:sldMasterMkLst>
        <pc:sldLayoutChg chg="del">
          <pc:chgData name="Max Gulde" userId="8a94856c-0e23-4cea-a56e-5e69679ff3b7" providerId="ADAL" clId="{BAF9B093-50D2-4FAF-BE5F-E67064FD464D}" dt="2023-09-29T06:55:27.477" v="262" actId="47"/>
          <pc:sldLayoutMkLst>
            <pc:docMk/>
            <pc:sldMasterMk cId="3166135873" sldId="2147483745"/>
            <pc:sldLayoutMk cId="1963964360" sldId="2147483750"/>
          </pc:sldLayoutMkLst>
        </pc:sldLayoutChg>
      </pc:sldMasterChg>
    </pc:docChg>
  </pc:docChgLst>
  <pc:docChgLst>
    <pc:chgData name="Daniel Spengler" userId="e1890eb5-6d1e-427e-b698-2f8974be3be7" providerId="ADAL" clId="{CB9724BD-D30E-FA4A-8CF9-A79112025F18}"/>
    <pc:docChg chg="custSel addSld modSld">
      <pc:chgData name="Daniel Spengler" userId="e1890eb5-6d1e-427e-b698-2f8974be3be7" providerId="ADAL" clId="{CB9724BD-D30E-FA4A-8CF9-A79112025F18}" dt="2024-11-25T13:05:59.878" v="15"/>
      <pc:docMkLst>
        <pc:docMk/>
      </pc:docMkLst>
      <pc:sldChg chg="add">
        <pc:chgData name="Daniel Spengler" userId="e1890eb5-6d1e-427e-b698-2f8974be3be7" providerId="ADAL" clId="{CB9724BD-D30E-FA4A-8CF9-A79112025F18}" dt="2024-11-25T13:05:59.878" v="15"/>
        <pc:sldMkLst>
          <pc:docMk/>
          <pc:sldMk cId="2176156816" sldId="2147473287"/>
        </pc:sldMkLst>
      </pc:sldChg>
      <pc:sldChg chg="modSp add mod">
        <pc:chgData name="Daniel Spengler" userId="e1890eb5-6d1e-427e-b698-2f8974be3be7" providerId="ADAL" clId="{CB9724BD-D30E-FA4A-8CF9-A79112025F18}" dt="2024-11-25T13:05:40.941" v="14" actId="20577"/>
        <pc:sldMkLst>
          <pc:docMk/>
          <pc:sldMk cId="1975585786" sldId="2147473401"/>
        </pc:sldMkLst>
        <pc:spChg chg="mod">
          <ac:chgData name="Daniel Spengler" userId="e1890eb5-6d1e-427e-b698-2f8974be3be7" providerId="ADAL" clId="{CB9724BD-D30E-FA4A-8CF9-A79112025F18}" dt="2024-11-25T13:05:35.785" v="7" actId="20577"/>
          <ac:spMkLst>
            <pc:docMk/>
            <pc:sldMk cId="1975585786" sldId="2147473401"/>
            <ac:spMk id="29" creationId="{BFD3DF6B-4C7E-2E96-B866-88940B402FF8}"/>
          </ac:spMkLst>
        </pc:spChg>
        <pc:spChg chg="mod">
          <ac:chgData name="Daniel Spengler" userId="e1890eb5-6d1e-427e-b698-2f8974be3be7" providerId="ADAL" clId="{CB9724BD-D30E-FA4A-8CF9-A79112025F18}" dt="2024-11-25T13:05:40.941" v="14" actId="20577"/>
          <ac:spMkLst>
            <pc:docMk/>
            <pc:sldMk cId="1975585786" sldId="2147473401"/>
            <ac:spMk id="30" creationId="{631C2937-B7D9-871E-FB1F-708691702E52}"/>
          </ac:spMkLst>
        </pc:spChg>
      </pc:sldChg>
    </pc:docChg>
  </pc:docChgLst>
  <pc:docChgLst>
    <pc:chgData name="Christophe Lerot" userId="1ceec737-4651-43cc-8d99-be438d5aa37f" providerId="ADAL" clId="{E3766871-5875-4C24-8A48-EA7C0E760435}"/>
    <pc:docChg chg="undo custSel modSld sldOrd modMainMaster">
      <pc:chgData name="Christophe Lerot" userId="1ceec737-4651-43cc-8d99-be438d5aa37f" providerId="ADAL" clId="{E3766871-5875-4C24-8A48-EA7C0E760435}" dt="2024-12-03T08:06:20.900" v="174"/>
      <pc:docMkLst>
        <pc:docMk/>
      </pc:docMkLst>
      <pc:sldChg chg="addSp modSp">
        <pc:chgData name="Christophe Lerot" userId="1ceec737-4651-43cc-8d99-be438d5aa37f" providerId="ADAL" clId="{E3766871-5875-4C24-8A48-EA7C0E760435}" dt="2024-11-27T09:01:09.149" v="59" actId="164"/>
        <pc:sldMkLst>
          <pc:docMk/>
          <pc:sldMk cId="330641209" sldId="959"/>
        </pc:sldMkLst>
        <pc:spChg chg="mod">
          <ac:chgData name="Christophe Lerot" userId="1ceec737-4651-43cc-8d99-be438d5aa37f" providerId="ADAL" clId="{E3766871-5875-4C24-8A48-EA7C0E760435}" dt="2024-11-27T09:01:09.149" v="59" actId="164"/>
          <ac:spMkLst>
            <pc:docMk/>
            <pc:sldMk cId="330641209" sldId="959"/>
            <ac:spMk id="2" creationId="{ED83533E-1A63-518D-9C41-2DAE2038021D}"/>
          </ac:spMkLst>
        </pc:spChg>
        <pc:spChg chg="mod">
          <ac:chgData name="Christophe Lerot" userId="1ceec737-4651-43cc-8d99-be438d5aa37f" providerId="ADAL" clId="{E3766871-5875-4C24-8A48-EA7C0E760435}" dt="2024-11-27T09:01:09.149" v="59" actId="164"/>
          <ac:spMkLst>
            <pc:docMk/>
            <pc:sldMk cId="330641209" sldId="959"/>
            <ac:spMk id="3" creationId="{36398DBD-7168-DC9D-8B15-5F7088651B91}"/>
          </ac:spMkLst>
        </pc:spChg>
        <pc:spChg chg="mod">
          <ac:chgData name="Christophe Lerot" userId="1ceec737-4651-43cc-8d99-be438d5aa37f" providerId="ADAL" clId="{E3766871-5875-4C24-8A48-EA7C0E760435}" dt="2024-11-27T09:01:09.149" v="59" actId="164"/>
          <ac:spMkLst>
            <pc:docMk/>
            <pc:sldMk cId="330641209" sldId="959"/>
            <ac:spMk id="4" creationId="{E6329322-BECD-98C7-FFC2-7DFDF3FD03A4}"/>
          </ac:spMkLst>
        </pc:spChg>
        <pc:spChg chg="mod">
          <ac:chgData name="Christophe Lerot" userId="1ceec737-4651-43cc-8d99-be438d5aa37f" providerId="ADAL" clId="{E3766871-5875-4C24-8A48-EA7C0E760435}" dt="2024-11-27T09:01:09.149" v="59" actId="164"/>
          <ac:spMkLst>
            <pc:docMk/>
            <pc:sldMk cId="330641209" sldId="959"/>
            <ac:spMk id="14" creationId="{DF22431F-7D78-0A9D-8BC0-078DBC506A51}"/>
          </ac:spMkLst>
        </pc:spChg>
        <pc:spChg chg="mod">
          <ac:chgData name="Christophe Lerot" userId="1ceec737-4651-43cc-8d99-be438d5aa37f" providerId="ADAL" clId="{E3766871-5875-4C24-8A48-EA7C0E760435}" dt="2024-11-27T09:01:09.149" v="59" actId="164"/>
          <ac:spMkLst>
            <pc:docMk/>
            <pc:sldMk cId="330641209" sldId="959"/>
            <ac:spMk id="30" creationId="{2A4710B1-BCF0-384D-521E-1D398B86DAFB}"/>
          </ac:spMkLst>
        </pc:spChg>
        <pc:spChg chg="mod">
          <ac:chgData name="Christophe Lerot" userId="1ceec737-4651-43cc-8d99-be438d5aa37f" providerId="ADAL" clId="{E3766871-5875-4C24-8A48-EA7C0E760435}" dt="2024-11-27T09:01:09.149" v="59" actId="164"/>
          <ac:spMkLst>
            <pc:docMk/>
            <pc:sldMk cId="330641209" sldId="959"/>
            <ac:spMk id="31" creationId="{3CB3C48C-170E-F02C-7444-06DCA73F950D}"/>
          </ac:spMkLst>
        </pc:spChg>
        <pc:spChg chg="mod">
          <ac:chgData name="Christophe Lerot" userId="1ceec737-4651-43cc-8d99-be438d5aa37f" providerId="ADAL" clId="{E3766871-5875-4C24-8A48-EA7C0E760435}" dt="2024-11-27T09:01:09.149" v="59" actId="164"/>
          <ac:spMkLst>
            <pc:docMk/>
            <pc:sldMk cId="330641209" sldId="959"/>
            <ac:spMk id="35" creationId="{63189A34-B235-235F-EAEF-6FDFE7BBD3F3}"/>
          </ac:spMkLst>
        </pc:spChg>
        <pc:spChg chg="mod">
          <ac:chgData name="Christophe Lerot" userId="1ceec737-4651-43cc-8d99-be438d5aa37f" providerId="ADAL" clId="{E3766871-5875-4C24-8A48-EA7C0E760435}" dt="2024-11-27T09:01:09.149" v="59" actId="164"/>
          <ac:spMkLst>
            <pc:docMk/>
            <pc:sldMk cId="330641209" sldId="959"/>
            <ac:spMk id="36" creationId="{29111831-14F4-BC91-0CD2-ADDCCA4486F7}"/>
          </ac:spMkLst>
        </pc:spChg>
        <pc:spChg chg="mod">
          <ac:chgData name="Christophe Lerot" userId="1ceec737-4651-43cc-8d99-be438d5aa37f" providerId="ADAL" clId="{E3766871-5875-4C24-8A48-EA7C0E760435}" dt="2024-11-27T09:01:09.149" v="59" actId="164"/>
          <ac:spMkLst>
            <pc:docMk/>
            <pc:sldMk cId="330641209" sldId="959"/>
            <ac:spMk id="39" creationId="{787FBAC0-9F34-3860-95A9-842C4A3F1A24}"/>
          </ac:spMkLst>
        </pc:spChg>
        <pc:spChg chg="mod">
          <ac:chgData name="Christophe Lerot" userId="1ceec737-4651-43cc-8d99-be438d5aa37f" providerId="ADAL" clId="{E3766871-5875-4C24-8A48-EA7C0E760435}" dt="2024-11-27T09:01:09.149" v="59" actId="164"/>
          <ac:spMkLst>
            <pc:docMk/>
            <pc:sldMk cId="330641209" sldId="959"/>
            <ac:spMk id="40" creationId="{10959561-60CC-5DDE-2224-FF98FF785A11}"/>
          </ac:spMkLst>
        </pc:spChg>
        <pc:spChg chg="mod">
          <ac:chgData name="Christophe Lerot" userId="1ceec737-4651-43cc-8d99-be438d5aa37f" providerId="ADAL" clId="{E3766871-5875-4C24-8A48-EA7C0E760435}" dt="2024-11-27T09:01:09.149" v="59" actId="164"/>
          <ac:spMkLst>
            <pc:docMk/>
            <pc:sldMk cId="330641209" sldId="959"/>
            <ac:spMk id="41" creationId="{77F56949-3C87-D3C5-1C4D-E6DB4B7C4F3B}"/>
          </ac:spMkLst>
        </pc:spChg>
        <pc:spChg chg="mod">
          <ac:chgData name="Christophe Lerot" userId="1ceec737-4651-43cc-8d99-be438d5aa37f" providerId="ADAL" clId="{E3766871-5875-4C24-8A48-EA7C0E760435}" dt="2024-11-27T09:00:29.440" v="58" actId="164"/>
          <ac:spMkLst>
            <pc:docMk/>
            <pc:sldMk cId="330641209" sldId="959"/>
            <ac:spMk id="42" creationId="{23F5EAD7-CDF9-ECD1-D51E-B9983C9AC937}"/>
          </ac:spMkLst>
        </pc:spChg>
        <pc:spChg chg="mod">
          <ac:chgData name="Christophe Lerot" userId="1ceec737-4651-43cc-8d99-be438d5aa37f" providerId="ADAL" clId="{E3766871-5875-4C24-8A48-EA7C0E760435}" dt="2024-11-27T09:00:29.440" v="58" actId="164"/>
          <ac:spMkLst>
            <pc:docMk/>
            <pc:sldMk cId="330641209" sldId="959"/>
            <ac:spMk id="43" creationId="{1E19FFCA-33CA-9CEF-DDF2-7344E4B13524}"/>
          </ac:spMkLst>
        </pc:spChg>
        <pc:spChg chg="mod">
          <ac:chgData name="Christophe Lerot" userId="1ceec737-4651-43cc-8d99-be438d5aa37f" providerId="ADAL" clId="{E3766871-5875-4C24-8A48-EA7C0E760435}" dt="2024-11-27T09:00:29.440" v="58" actId="164"/>
          <ac:spMkLst>
            <pc:docMk/>
            <pc:sldMk cId="330641209" sldId="959"/>
            <ac:spMk id="44" creationId="{D9B0A92B-0DFE-DBB8-9BE4-F9B01A9A9518}"/>
          </ac:spMkLst>
        </pc:spChg>
        <pc:spChg chg="mod">
          <ac:chgData name="Christophe Lerot" userId="1ceec737-4651-43cc-8d99-be438d5aa37f" providerId="ADAL" clId="{E3766871-5875-4C24-8A48-EA7C0E760435}" dt="2024-11-27T09:00:29.440" v="58" actId="164"/>
          <ac:spMkLst>
            <pc:docMk/>
            <pc:sldMk cId="330641209" sldId="959"/>
            <ac:spMk id="45" creationId="{B80A8C74-867E-6E47-3636-1922CE41B181}"/>
          </ac:spMkLst>
        </pc:spChg>
        <pc:spChg chg="mod">
          <ac:chgData name="Christophe Lerot" userId="1ceec737-4651-43cc-8d99-be438d5aa37f" providerId="ADAL" clId="{E3766871-5875-4C24-8A48-EA7C0E760435}" dt="2024-11-27T09:01:09.149" v="59" actId="164"/>
          <ac:spMkLst>
            <pc:docMk/>
            <pc:sldMk cId="330641209" sldId="959"/>
            <ac:spMk id="61" creationId="{081BBE3D-0512-CE55-3BEE-BBEBB1BD634A}"/>
          </ac:spMkLst>
        </pc:spChg>
        <pc:grpChg chg="add mod">
          <ac:chgData name="Christophe Lerot" userId="1ceec737-4651-43cc-8d99-be438d5aa37f" providerId="ADAL" clId="{E3766871-5875-4C24-8A48-EA7C0E760435}" dt="2024-11-27T09:00:29.440" v="58" actId="164"/>
          <ac:grpSpMkLst>
            <pc:docMk/>
            <pc:sldMk cId="330641209" sldId="959"/>
            <ac:grpSpMk id="5" creationId="{E11B04B3-8C97-DF65-A6F0-05791D82F621}"/>
          </ac:grpSpMkLst>
        </pc:grpChg>
        <pc:grpChg chg="add mod">
          <ac:chgData name="Christophe Lerot" userId="1ceec737-4651-43cc-8d99-be438d5aa37f" providerId="ADAL" clId="{E3766871-5875-4C24-8A48-EA7C0E760435}" dt="2024-11-27T09:01:09.149" v="59" actId="164"/>
          <ac:grpSpMkLst>
            <pc:docMk/>
            <pc:sldMk cId="330641209" sldId="959"/>
            <ac:grpSpMk id="6" creationId="{7BEC23E4-E6EC-4023-473F-FB95A48CF9F6}"/>
          </ac:grpSpMkLst>
        </pc:grpChg>
        <pc:picChg chg="mod">
          <ac:chgData name="Christophe Lerot" userId="1ceec737-4651-43cc-8d99-be438d5aa37f" providerId="ADAL" clId="{E3766871-5875-4C24-8A48-EA7C0E760435}" dt="2024-11-27T09:01:09.149" v="59" actId="164"/>
          <ac:picMkLst>
            <pc:docMk/>
            <pc:sldMk cId="330641209" sldId="959"/>
            <ac:picMk id="46" creationId="{DE21FE99-197E-0BE5-D3B4-2543A66099E0}"/>
          </ac:picMkLst>
        </pc:picChg>
        <pc:picChg chg="mod">
          <ac:chgData name="Christophe Lerot" userId="1ceec737-4651-43cc-8d99-be438d5aa37f" providerId="ADAL" clId="{E3766871-5875-4C24-8A48-EA7C0E760435}" dt="2024-11-27T09:01:09.149" v="59" actId="164"/>
          <ac:picMkLst>
            <pc:docMk/>
            <pc:sldMk cId="330641209" sldId="959"/>
            <ac:picMk id="47" creationId="{A549B963-C6D9-086E-CEFB-A99065D16AB0}"/>
          </ac:picMkLst>
        </pc:picChg>
        <pc:picChg chg="mod">
          <ac:chgData name="Christophe Lerot" userId="1ceec737-4651-43cc-8d99-be438d5aa37f" providerId="ADAL" clId="{E3766871-5875-4C24-8A48-EA7C0E760435}" dt="2024-11-27T09:01:09.149" v="59" actId="164"/>
          <ac:picMkLst>
            <pc:docMk/>
            <pc:sldMk cId="330641209" sldId="959"/>
            <ac:picMk id="48" creationId="{E0248AEC-9F2C-3F4E-037A-02E1C8B9CBD9}"/>
          </ac:picMkLst>
        </pc:picChg>
        <pc:picChg chg="mod">
          <ac:chgData name="Christophe Lerot" userId="1ceec737-4651-43cc-8d99-be438d5aa37f" providerId="ADAL" clId="{E3766871-5875-4C24-8A48-EA7C0E760435}" dt="2024-11-27T09:01:09.149" v="59" actId="164"/>
          <ac:picMkLst>
            <pc:docMk/>
            <pc:sldMk cId="330641209" sldId="959"/>
            <ac:picMk id="49" creationId="{A64F0CEC-8895-6525-0DF5-A5C7E5F5855F}"/>
          </ac:picMkLst>
        </pc:picChg>
        <pc:picChg chg="mod">
          <ac:chgData name="Christophe Lerot" userId="1ceec737-4651-43cc-8d99-be438d5aa37f" providerId="ADAL" clId="{E3766871-5875-4C24-8A48-EA7C0E760435}" dt="2024-11-27T09:01:09.149" v="59" actId="164"/>
          <ac:picMkLst>
            <pc:docMk/>
            <pc:sldMk cId="330641209" sldId="959"/>
            <ac:picMk id="50" creationId="{8F4CDFB5-0404-3C6F-23FD-6987970EF444}"/>
          </ac:picMkLst>
        </pc:picChg>
        <pc:picChg chg="mod">
          <ac:chgData name="Christophe Lerot" userId="1ceec737-4651-43cc-8d99-be438d5aa37f" providerId="ADAL" clId="{E3766871-5875-4C24-8A48-EA7C0E760435}" dt="2024-11-27T09:01:09.149" v="59" actId="164"/>
          <ac:picMkLst>
            <pc:docMk/>
            <pc:sldMk cId="330641209" sldId="959"/>
            <ac:picMk id="62" creationId="{CBDB32AD-91B2-CA18-BA82-295C14983D48}"/>
          </ac:picMkLst>
        </pc:picChg>
        <pc:cxnChg chg="mod">
          <ac:chgData name="Christophe Lerot" userId="1ceec737-4651-43cc-8d99-be438d5aa37f" providerId="ADAL" clId="{E3766871-5875-4C24-8A48-EA7C0E760435}" dt="2024-11-27T09:01:09.149" v="59" actId="164"/>
          <ac:cxnSpMkLst>
            <pc:docMk/>
            <pc:sldMk cId="330641209" sldId="959"/>
            <ac:cxnSpMk id="13" creationId="{67929E75-BA57-8D6F-CF04-47341E85B1D3}"/>
          </ac:cxnSpMkLst>
        </pc:cxnChg>
        <pc:cxnChg chg="mod">
          <ac:chgData name="Christophe Lerot" userId="1ceec737-4651-43cc-8d99-be438d5aa37f" providerId="ADAL" clId="{E3766871-5875-4C24-8A48-EA7C0E760435}" dt="2024-11-27T09:00:29.440" v="58" actId="164"/>
          <ac:cxnSpMkLst>
            <pc:docMk/>
            <pc:sldMk cId="330641209" sldId="959"/>
            <ac:cxnSpMk id="53" creationId="{4A260F9A-B994-74FB-AFC4-6C75809DBB6C}"/>
          </ac:cxnSpMkLst>
        </pc:cxnChg>
        <pc:cxnChg chg="mod">
          <ac:chgData name="Christophe Lerot" userId="1ceec737-4651-43cc-8d99-be438d5aa37f" providerId="ADAL" clId="{E3766871-5875-4C24-8A48-EA7C0E760435}" dt="2024-11-27T09:00:29.440" v="58" actId="164"/>
          <ac:cxnSpMkLst>
            <pc:docMk/>
            <pc:sldMk cId="330641209" sldId="959"/>
            <ac:cxnSpMk id="54" creationId="{905B778D-0EA1-9EA1-FA2D-4330B5AF1312}"/>
          </ac:cxnSpMkLst>
        </pc:cxnChg>
        <pc:cxnChg chg="mod">
          <ac:chgData name="Christophe Lerot" userId="1ceec737-4651-43cc-8d99-be438d5aa37f" providerId="ADAL" clId="{E3766871-5875-4C24-8A48-EA7C0E760435}" dt="2024-11-27T09:00:29.440" v="58" actId="164"/>
          <ac:cxnSpMkLst>
            <pc:docMk/>
            <pc:sldMk cId="330641209" sldId="959"/>
            <ac:cxnSpMk id="55" creationId="{7CD3F4B5-B146-7B0C-6873-A4979A804AB8}"/>
          </ac:cxnSpMkLst>
        </pc:cxnChg>
      </pc:sldChg>
      <pc:sldChg chg="modSp mod">
        <pc:chgData name="Christophe Lerot" userId="1ceec737-4651-43cc-8d99-be438d5aa37f" providerId="ADAL" clId="{E3766871-5875-4C24-8A48-EA7C0E760435}" dt="2024-12-02T08:15:40.489" v="69" actId="20577"/>
        <pc:sldMkLst>
          <pc:docMk/>
          <pc:sldMk cId="94344" sldId="973"/>
        </pc:sldMkLst>
        <pc:spChg chg="mod">
          <ac:chgData name="Christophe Lerot" userId="1ceec737-4651-43cc-8d99-be438d5aa37f" providerId="ADAL" clId="{E3766871-5875-4C24-8A48-EA7C0E760435}" dt="2024-12-02T08:15:40.489" v="69" actId="20577"/>
          <ac:spMkLst>
            <pc:docMk/>
            <pc:sldMk cId="94344" sldId="973"/>
            <ac:spMk id="92" creationId="{1F5BBFF5-7AF1-4970-9375-5F3CF329017A}"/>
          </ac:spMkLst>
        </pc:spChg>
        <pc:graphicFrameChg chg="modGraphic">
          <ac:chgData name="Christophe Lerot" userId="1ceec737-4651-43cc-8d99-be438d5aa37f" providerId="ADAL" clId="{E3766871-5875-4C24-8A48-EA7C0E760435}" dt="2024-11-29T16:09:05.932" v="68" actId="20577"/>
          <ac:graphicFrameMkLst>
            <pc:docMk/>
            <pc:sldMk cId="94344" sldId="973"/>
            <ac:graphicFrameMk id="6" creationId="{D6D711B8-1C0C-D265-F944-B67CF39E1967}"/>
          </ac:graphicFrameMkLst>
        </pc:graphicFrameChg>
      </pc:sldChg>
      <pc:sldChg chg="delSp mod">
        <pc:chgData name="Christophe Lerot" userId="1ceec737-4651-43cc-8d99-be438d5aa37f" providerId="ADAL" clId="{E3766871-5875-4C24-8A48-EA7C0E760435}" dt="2024-11-27T08:54:08.724" v="45" actId="478"/>
        <pc:sldMkLst>
          <pc:docMk/>
          <pc:sldMk cId="3776596823" sldId="1080"/>
        </pc:sldMkLst>
      </pc:sldChg>
      <pc:sldChg chg="addSp delSp mod">
        <pc:chgData name="Christophe Lerot" userId="1ceec737-4651-43cc-8d99-be438d5aa37f" providerId="ADAL" clId="{E3766871-5875-4C24-8A48-EA7C0E760435}" dt="2024-11-27T08:54:23.158" v="48" actId="478"/>
        <pc:sldMkLst>
          <pc:docMk/>
          <pc:sldMk cId="383146003" sldId="1091"/>
        </pc:sldMkLst>
        <pc:spChg chg="add del">
          <ac:chgData name="Christophe Lerot" userId="1ceec737-4651-43cc-8d99-be438d5aa37f" providerId="ADAL" clId="{E3766871-5875-4C24-8A48-EA7C0E760435}" dt="2024-11-27T08:54:19.017" v="47" actId="478"/>
          <ac:spMkLst>
            <pc:docMk/>
            <pc:sldMk cId="383146003" sldId="1091"/>
            <ac:spMk id="59" creationId="{4D7F6C33-B85D-9747-937D-7C667BE08418}"/>
          </ac:spMkLst>
        </pc:spChg>
      </pc:sldChg>
      <pc:sldChg chg="delSp mod">
        <pc:chgData name="Christophe Lerot" userId="1ceec737-4651-43cc-8d99-be438d5aa37f" providerId="ADAL" clId="{E3766871-5875-4C24-8A48-EA7C0E760435}" dt="2024-11-27T08:54:29.460" v="49" actId="478"/>
        <pc:sldMkLst>
          <pc:docMk/>
          <pc:sldMk cId="3846767903" sldId="1098"/>
        </pc:sldMkLst>
      </pc:sldChg>
      <pc:sldChg chg="addSp delSp modSp mod">
        <pc:chgData name="Christophe Lerot" userId="1ceec737-4651-43cc-8d99-be438d5aa37f" providerId="ADAL" clId="{E3766871-5875-4C24-8A48-EA7C0E760435}" dt="2024-11-27T12:21:35.582" v="64" actId="164"/>
        <pc:sldMkLst>
          <pc:docMk/>
          <pc:sldMk cId="4221661752" sldId="1178"/>
        </pc:sldMkLst>
        <pc:spChg chg="mod topLvl">
          <ac:chgData name="Christophe Lerot" userId="1ceec737-4651-43cc-8d99-be438d5aa37f" providerId="ADAL" clId="{E3766871-5875-4C24-8A48-EA7C0E760435}" dt="2024-11-27T12:20:57.989" v="63" actId="164"/>
          <ac:spMkLst>
            <pc:docMk/>
            <pc:sldMk cId="4221661752" sldId="1178"/>
            <ac:spMk id="34" creationId="{C560F3A3-CCA7-028F-C714-E5DC74504303}"/>
          </ac:spMkLst>
        </pc:spChg>
        <pc:spChg chg="mod topLvl">
          <ac:chgData name="Christophe Lerot" userId="1ceec737-4651-43cc-8d99-be438d5aa37f" providerId="ADAL" clId="{E3766871-5875-4C24-8A48-EA7C0E760435}" dt="2024-11-27T12:20:57.989" v="63" actId="164"/>
          <ac:spMkLst>
            <pc:docMk/>
            <pc:sldMk cId="4221661752" sldId="1178"/>
            <ac:spMk id="35" creationId="{E2B56323-2E0D-4FB0-00E2-8B3AD21BF887}"/>
          </ac:spMkLst>
        </pc:spChg>
        <pc:spChg chg="mod topLvl">
          <ac:chgData name="Christophe Lerot" userId="1ceec737-4651-43cc-8d99-be438d5aa37f" providerId="ADAL" clId="{E3766871-5875-4C24-8A48-EA7C0E760435}" dt="2024-11-27T12:21:35.582" v="64" actId="164"/>
          <ac:spMkLst>
            <pc:docMk/>
            <pc:sldMk cId="4221661752" sldId="1178"/>
            <ac:spMk id="46" creationId="{9EF120BA-EBE1-46AB-4F02-FD67D2FB103F}"/>
          </ac:spMkLst>
        </pc:spChg>
        <pc:grpChg chg="add mod">
          <ac:chgData name="Christophe Lerot" userId="1ceec737-4651-43cc-8d99-be438d5aa37f" providerId="ADAL" clId="{E3766871-5875-4C24-8A48-EA7C0E760435}" dt="2024-11-27T12:21:35.582" v="64" actId="164"/>
          <ac:grpSpMkLst>
            <pc:docMk/>
            <pc:sldMk cId="4221661752" sldId="1178"/>
            <ac:grpSpMk id="2" creationId="{FA401182-0EDB-7CE1-AE8F-932DBFC6DF1A}"/>
          </ac:grpSpMkLst>
        </pc:grpChg>
        <pc:grpChg chg="add mod">
          <ac:chgData name="Christophe Lerot" userId="1ceec737-4651-43cc-8d99-be438d5aa37f" providerId="ADAL" clId="{E3766871-5875-4C24-8A48-EA7C0E760435}" dt="2024-11-27T12:21:35.582" v="64" actId="164"/>
          <ac:grpSpMkLst>
            <pc:docMk/>
            <pc:sldMk cId="4221661752" sldId="1178"/>
            <ac:grpSpMk id="3" creationId="{9DEA19B7-2925-BD4E-883C-D54126B6192A}"/>
          </ac:grpSpMkLst>
        </pc:grpChg>
        <pc:picChg chg="mod topLvl">
          <ac:chgData name="Christophe Lerot" userId="1ceec737-4651-43cc-8d99-be438d5aa37f" providerId="ADAL" clId="{E3766871-5875-4C24-8A48-EA7C0E760435}" dt="2024-11-27T12:20:57.989" v="63" actId="164"/>
          <ac:picMkLst>
            <pc:docMk/>
            <pc:sldMk cId="4221661752" sldId="1178"/>
            <ac:picMk id="15" creationId="{ABE6CD2D-BCA0-2DDA-5673-2D4B0E358FCD}"/>
          </ac:picMkLst>
        </pc:picChg>
        <pc:picChg chg="mod topLvl">
          <ac:chgData name="Christophe Lerot" userId="1ceec737-4651-43cc-8d99-be438d5aa37f" providerId="ADAL" clId="{E3766871-5875-4C24-8A48-EA7C0E760435}" dt="2024-11-27T12:20:57.989" v="63" actId="164"/>
          <ac:picMkLst>
            <pc:docMk/>
            <pc:sldMk cId="4221661752" sldId="1178"/>
            <ac:picMk id="16" creationId="{E75563CA-2478-788C-E536-477B857319AE}"/>
          </ac:picMkLst>
        </pc:picChg>
        <pc:picChg chg="mod topLvl">
          <ac:chgData name="Christophe Lerot" userId="1ceec737-4651-43cc-8d99-be438d5aa37f" providerId="ADAL" clId="{E3766871-5875-4C24-8A48-EA7C0E760435}" dt="2024-11-27T12:20:57.989" v="63" actId="164"/>
          <ac:picMkLst>
            <pc:docMk/>
            <pc:sldMk cId="4221661752" sldId="1178"/>
            <ac:picMk id="17" creationId="{342087E4-38F1-0C8A-28D5-49D1FD2A88DF}"/>
          </ac:picMkLst>
        </pc:picChg>
        <pc:cxnChg chg="mod topLvl">
          <ac:chgData name="Christophe Lerot" userId="1ceec737-4651-43cc-8d99-be438d5aa37f" providerId="ADAL" clId="{E3766871-5875-4C24-8A48-EA7C0E760435}" dt="2024-11-27T12:20:57.989" v="63" actId="164"/>
          <ac:cxnSpMkLst>
            <pc:docMk/>
            <pc:sldMk cId="4221661752" sldId="1178"/>
            <ac:cxnSpMk id="18" creationId="{76EA41BB-4C02-B784-405C-724741996AE3}"/>
          </ac:cxnSpMkLst>
        </pc:cxnChg>
        <pc:cxnChg chg="mod topLvl">
          <ac:chgData name="Christophe Lerot" userId="1ceec737-4651-43cc-8d99-be438d5aa37f" providerId="ADAL" clId="{E3766871-5875-4C24-8A48-EA7C0E760435}" dt="2024-11-27T12:20:57.989" v="63" actId="164"/>
          <ac:cxnSpMkLst>
            <pc:docMk/>
            <pc:sldMk cId="4221661752" sldId="1178"/>
            <ac:cxnSpMk id="19" creationId="{4AF201D8-D2C9-4F9D-D987-613054CC3360}"/>
          </ac:cxnSpMkLst>
        </pc:cxnChg>
      </pc:sldChg>
      <pc:sldChg chg="delSp mod">
        <pc:chgData name="Christophe Lerot" userId="1ceec737-4651-43cc-8d99-be438d5aa37f" providerId="ADAL" clId="{E3766871-5875-4C24-8A48-EA7C0E760435}" dt="2024-11-27T08:54:44.084" v="51" actId="478"/>
        <pc:sldMkLst>
          <pc:docMk/>
          <pc:sldMk cId="3754321163" sldId="2147473089"/>
        </pc:sldMkLst>
      </pc:sldChg>
      <pc:sldChg chg="delSp mod">
        <pc:chgData name="Christophe Lerot" userId="1ceec737-4651-43cc-8d99-be438d5aa37f" providerId="ADAL" clId="{E3766871-5875-4C24-8A48-EA7C0E760435}" dt="2024-11-27T08:54:39.669" v="50" actId="478"/>
        <pc:sldMkLst>
          <pc:docMk/>
          <pc:sldMk cId="1545877880" sldId="2147473090"/>
        </pc:sldMkLst>
      </pc:sldChg>
      <pc:sldChg chg="modSp mod">
        <pc:chgData name="Christophe Lerot" userId="1ceec737-4651-43cc-8d99-be438d5aa37f" providerId="ADAL" clId="{E3766871-5875-4C24-8A48-EA7C0E760435}" dt="2024-11-27T08:48:04.073" v="44" actId="20577"/>
        <pc:sldMkLst>
          <pc:docMk/>
          <pc:sldMk cId="2293015315" sldId="2147473091"/>
        </pc:sldMkLst>
        <pc:spChg chg="mod">
          <ac:chgData name="Christophe Lerot" userId="1ceec737-4651-43cc-8d99-be438d5aa37f" providerId="ADAL" clId="{E3766871-5875-4C24-8A48-EA7C0E760435}" dt="2024-11-27T08:48:04.073" v="44" actId="20577"/>
          <ac:spMkLst>
            <pc:docMk/>
            <pc:sldMk cId="2293015315" sldId="2147473091"/>
            <ac:spMk id="3" creationId="{6399A69E-2C25-E951-498C-9EE50790E1B3}"/>
          </ac:spMkLst>
        </pc:spChg>
      </pc:sldChg>
      <pc:sldChg chg="delSp modSp mod">
        <pc:chgData name="Christophe Lerot" userId="1ceec737-4651-43cc-8d99-be438d5aa37f" providerId="ADAL" clId="{E3766871-5875-4C24-8A48-EA7C0E760435}" dt="2024-12-02T22:03:48.737" v="172" actId="1076"/>
        <pc:sldMkLst>
          <pc:docMk/>
          <pc:sldMk cId="3598046251" sldId="2147473093"/>
        </pc:sldMkLst>
        <pc:spChg chg="mod">
          <ac:chgData name="Christophe Lerot" userId="1ceec737-4651-43cc-8d99-be438d5aa37f" providerId="ADAL" clId="{E3766871-5875-4C24-8A48-EA7C0E760435}" dt="2024-12-02T22:03:48.737" v="172" actId="1076"/>
          <ac:spMkLst>
            <pc:docMk/>
            <pc:sldMk cId="3598046251" sldId="2147473093"/>
            <ac:spMk id="20" creationId="{3E9C4342-F006-C0FC-F864-22C2BC14A656}"/>
          </ac:spMkLst>
        </pc:spChg>
      </pc:sldChg>
      <pc:sldChg chg="delSp mod">
        <pc:chgData name="Christophe Lerot" userId="1ceec737-4651-43cc-8d99-be438d5aa37f" providerId="ADAL" clId="{E3766871-5875-4C24-8A48-EA7C0E760435}" dt="2024-11-27T08:54:47.278" v="52" actId="478"/>
        <pc:sldMkLst>
          <pc:docMk/>
          <pc:sldMk cId="1788230211" sldId="2147473094"/>
        </pc:sldMkLst>
      </pc:sldChg>
      <pc:sldChg chg="delSp mod">
        <pc:chgData name="Christophe Lerot" userId="1ceec737-4651-43cc-8d99-be438d5aa37f" providerId="ADAL" clId="{E3766871-5875-4C24-8A48-EA7C0E760435}" dt="2024-11-27T08:54:49.836" v="53" actId="478"/>
        <pc:sldMkLst>
          <pc:docMk/>
          <pc:sldMk cId="636709181" sldId="2147473095"/>
        </pc:sldMkLst>
      </pc:sldChg>
      <pc:sldChg chg="delSp mod">
        <pc:chgData name="Christophe Lerot" userId="1ceec737-4651-43cc-8d99-be438d5aa37f" providerId="ADAL" clId="{E3766871-5875-4C24-8A48-EA7C0E760435}" dt="2024-11-27T08:55:03.663" v="56" actId="478"/>
        <pc:sldMkLst>
          <pc:docMk/>
          <pc:sldMk cId="3967600474" sldId="2147473096"/>
        </pc:sldMkLst>
      </pc:sldChg>
      <pc:sldChg chg="delSp mod">
        <pc:chgData name="Christophe Lerot" userId="1ceec737-4651-43cc-8d99-be438d5aa37f" providerId="ADAL" clId="{E3766871-5875-4C24-8A48-EA7C0E760435}" dt="2024-11-27T08:55:07.821" v="57" actId="478"/>
        <pc:sldMkLst>
          <pc:docMk/>
          <pc:sldMk cId="210923332" sldId="2147473100"/>
        </pc:sldMkLst>
      </pc:sldChg>
      <pc:sldChg chg="modSp mod ord modShow">
        <pc:chgData name="Christophe Lerot" userId="1ceec737-4651-43cc-8d99-be438d5aa37f" providerId="ADAL" clId="{E3766871-5875-4C24-8A48-EA7C0E760435}" dt="2024-12-03T08:06:20.900" v="174"/>
        <pc:sldMkLst>
          <pc:docMk/>
          <pc:sldMk cId="2176156816" sldId="2147473287"/>
        </pc:sldMkLst>
        <pc:spChg chg="mod">
          <ac:chgData name="Christophe Lerot" userId="1ceec737-4651-43cc-8d99-be438d5aa37f" providerId="ADAL" clId="{E3766871-5875-4C24-8A48-EA7C0E760435}" dt="2024-11-29T16:04:15.098" v="66" actId="1035"/>
          <ac:spMkLst>
            <pc:docMk/>
            <pc:sldMk cId="2176156816" sldId="2147473287"/>
            <ac:spMk id="7" creationId="{415FB7DC-6CAB-8411-E9D2-CC646FC14D70}"/>
          </ac:spMkLst>
        </pc:spChg>
      </pc:sldChg>
      <pc:sldChg chg="delSp mod">
        <pc:chgData name="Christophe Lerot" userId="1ceec737-4651-43cc-8d99-be438d5aa37f" providerId="ADAL" clId="{E3766871-5875-4C24-8A48-EA7C0E760435}" dt="2024-12-02T08:16:48.478" v="70" actId="478"/>
        <pc:sldMkLst>
          <pc:docMk/>
          <pc:sldMk cId="1975585786" sldId="2147473401"/>
        </pc:sldMkLst>
        <pc:spChg chg="del">
          <ac:chgData name="Christophe Lerot" userId="1ceec737-4651-43cc-8d99-be438d5aa37f" providerId="ADAL" clId="{E3766871-5875-4C24-8A48-EA7C0E760435}" dt="2024-12-02T08:16:48.478" v="70" actId="478"/>
          <ac:spMkLst>
            <pc:docMk/>
            <pc:sldMk cId="1975585786" sldId="2147473401"/>
            <ac:spMk id="6" creationId="{17A36952-EDAF-0A59-F65A-7194059D6D4A}"/>
          </ac:spMkLst>
        </pc:spChg>
      </pc:sldChg>
      <pc:sldMasterChg chg="modSldLayout">
        <pc:chgData name="Christophe Lerot" userId="1ceec737-4651-43cc-8d99-be438d5aa37f" providerId="ADAL" clId="{E3766871-5875-4C24-8A48-EA7C0E760435}" dt="2024-11-25T09:22:24.647" v="11" actId="478"/>
        <pc:sldMasterMkLst>
          <pc:docMk/>
          <pc:sldMasterMk cId="915293649" sldId="2147483717"/>
        </pc:sldMasterMkLst>
        <pc:sldLayoutChg chg="addSp delSp modSp mod">
          <pc:chgData name="Christophe Lerot" userId="1ceec737-4651-43cc-8d99-be438d5aa37f" providerId="ADAL" clId="{E3766871-5875-4C24-8A48-EA7C0E760435}" dt="2024-11-25T09:22:24.647" v="11" actId="478"/>
          <pc:sldLayoutMkLst>
            <pc:docMk/>
            <pc:sldMasterMk cId="915293649" sldId="2147483717"/>
            <pc:sldLayoutMk cId="3957292802" sldId="2147483720"/>
          </pc:sldLayoutMkLst>
          <pc:picChg chg="add mod ord">
            <ac:chgData name="Christophe Lerot" userId="1ceec737-4651-43cc-8d99-be438d5aa37f" providerId="ADAL" clId="{E3766871-5875-4C24-8A48-EA7C0E760435}" dt="2024-11-25T09:22:22.252" v="10" actId="167"/>
            <ac:picMkLst>
              <pc:docMk/>
              <pc:sldMasterMk cId="915293649" sldId="2147483717"/>
              <pc:sldLayoutMk cId="3957292802" sldId="2147483720"/>
              <ac:picMk id="3" creationId="{23EB8D62-480C-106A-5F95-2D65EF15F473}"/>
            </ac:picMkLst>
          </pc:picChg>
        </pc:sldLayoutChg>
        <pc:sldLayoutChg chg="addSp modSp">
          <pc:chgData name="Christophe Lerot" userId="1ceec737-4651-43cc-8d99-be438d5aa37f" providerId="ADAL" clId="{E3766871-5875-4C24-8A48-EA7C0E760435}" dt="2024-11-25T09:19:35.140" v="0"/>
          <pc:sldLayoutMkLst>
            <pc:docMk/>
            <pc:sldMasterMk cId="915293649" sldId="2147483717"/>
            <pc:sldLayoutMk cId="306997290" sldId="2147483753"/>
          </pc:sldLayoutMkLst>
          <pc:spChg chg="add mod">
            <ac:chgData name="Christophe Lerot" userId="1ceec737-4651-43cc-8d99-be438d5aa37f" providerId="ADAL" clId="{E3766871-5875-4C24-8A48-EA7C0E760435}" dt="2024-11-25T09:19:35.140" v="0"/>
            <ac:spMkLst>
              <pc:docMk/>
              <pc:sldMasterMk cId="915293649" sldId="2147483717"/>
              <pc:sldLayoutMk cId="306997290" sldId="2147483753"/>
              <ac:spMk id="3" creationId="{880647BD-E7FB-476F-F495-0347C5FBAC59}"/>
            </ac:spMkLst>
          </pc:spChg>
        </pc:sldLayoutChg>
      </pc:sldMasterChg>
    </pc:docChg>
  </pc:docChgLst>
</pc:chgInfo>
</file>

<file path=ppt/comments/modernComment_7FFFD7F9_75C10BF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F596083-D379-473D-92EA-3BD6F24B056D}" authorId="{2436B850-9FE3-ECDA-280C-101C6830F855}" created="2024-11-27T08:47:21.672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975585786" sldId="2147473401"/>
      <ac:spMk id="6" creationId="{17A36952-EDAF-0A59-F65A-7194059D6D4A}"/>
    </ac:deMkLst>
    <p188:txBody>
      <a:bodyPr/>
      <a:lstStyle/>
      <a:p>
        <a:r>
          <a:rPr lang="en-BE"/>
          <a:t>[@Daniel Spengler] Thanks for the new slides. Just to be sure, I guess this slide can be shown despite the label “for internal only”?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4CA90F6-8043-90E1-EDE0-8A6EBD734E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24D8A6E-9275-2919-486D-4BCB7D75840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6C283C-BB26-4B45-89FC-466E3EDE0D96}" type="datetimeFigureOut">
              <a:rPr lang="en-GB" smtClean="0"/>
              <a:t>03/1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D219BE-3E7E-9068-BCEB-E598BCCD1C4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0AA1D3-1F43-DF95-14A0-6F6F0EE8C80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B48FBA-6B6C-4621-807D-9830546C00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6337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5BD7E7-811C-46E6-A900-3C586716ED10}" type="datetimeFigureOut">
              <a:rPr lang="en-US" smtClean="0"/>
              <a:t>12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AE324F-700A-44A5-8461-E4C75EABCF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630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AE324F-700A-44A5-8461-E4C75EABCFA3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6455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FB328-B232-7381-3742-2CA86E1451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428C2C4-DC6C-6255-62D3-E65DBD4C5E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2803548-52D3-581C-CA89-19AA991D3E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056A37-8DA8-F3E6-775F-7C8C35281BF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4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851803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4D92C6-F2CE-04EC-70C1-B4D0E984E0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F4C1195-BAD2-91C2-837A-5C1DAFC312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8A7C249-CAAA-48DA-3A5D-BCF74ABC23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6A32E0-142D-EF5E-EA3B-09795286A4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AE324F-700A-44A5-8461-E4C75EABCF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0800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E5E987-92A9-1F75-B54A-C19290853A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34B382-80A2-8AB8-F15F-D8ED18DEAF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0EEFE9-35C3-CB2E-8E84-B8A5976BE1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t stress is detected before damage is visible on the plants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timal time for pollination is determined</a:t>
            </a:r>
          </a:p>
          <a:p>
            <a:r>
              <a:rPr kumimoji="0" lang="nl-BE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ows to prioritize field intervention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mitigate earlier where it matters most</a:t>
            </a:r>
            <a:endParaRPr lang="en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BCE6BA-35A3-0865-0511-7A1124F4A5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AE324F-700A-44A5-8461-E4C75EABCFA3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118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AE324F-700A-44A5-8461-E4C75EABCF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48364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411583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t stress is detected before damage is visible on the plants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timal time for pollination is determined</a:t>
            </a:r>
          </a:p>
          <a:p>
            <a:r>
              <a:rPr kumimoji="0" lang="nl-BE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ows to prioritize field intervention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mitigate earlier where it matters most</a:t>
            </a:r>
            <a:endParaRPr lang="en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AE324F-700A-44A5-8461-E4C75EABCFA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6433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AE324F-700A-44A5-8461-E4C75EABCFA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0777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200" b="1">
              <a:solidFill>
                <a:srgbClr val="1C0F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on architecture for operational service</a:t>
            </a:r>
            <a:br>
              <a:rPr lang="en-GB" sz="1200" b="1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ed for high resolution imagery, high radiometric accuracy, high revisit frequencies, low latencies, global scalability to help farmers saving water and cost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ce Segment </a:t>
            </a:r>
            <a:br>
              <a:rPr lang="en-GB" sz="1200" b="1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GB" sz="1200" baseline="300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GB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en payload developed with OHB, DPU by Fraunhofer EMI, platform by Kongsberg </a:t>
            </a:r>
            <a:r>
              <a:rPr lang="en-GB" sz="1200" err="1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noavionics</a:t>
            </a:r>
            <a:endParaRPr lang="en-GB" sz="1200">
              <a:solidFill>
                <a:srgbClr val="1C0F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al calibration methodology</a:t>
            </a:r>
            <a:br>
              <a:rPr lang="en-GB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s payload miniaturisation, satellite mass ~110kg with payload accounting for ~30%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rcial &amp; COTS</a:t>
            </a:r>
            <a:br>
              <a:rPr lang="en-GB" sz="1200" b="1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-efficient via the use of commercial-off-the-shelves components and 3</a:t>
            </a:r>
            <a:r>
              <a:rPr lang="en-GB" sz="1200" baseline="300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GB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ty services</a:t>
            </a:r>
          </a:p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AE324F-700A-44A5-8461-E4C75EABCFA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11819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NIR </a:t>
            </a:r>
          </a:p>
          <a:p>
            <a:pPr marL="285750" indent="-285750">
              <a:buFontTx/>
              <a:buChar char="-"/>
            </a:pPr>
            <a:r>
              <a:rPr lang="en-GB" sz="1200" err="1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CalNet</a:t>
            </a:r>
            <a:r>
              <a:rPr lang="en-GB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robotic sites) Railroad Valley (USA), La </a:t>
            </a:r>
            <a:r>
              <a:rPr lang="en-GB" sz="1200" err="1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au</a:t>
            </a:r>
            <a:r>
              <a:rPr lang="en-GB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France), </a:t>
            </a:r>
            <a:r>
              <a:rPr lang="en-GB" sz="1200" err="1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babeb</a:t>
            </a:r>
            <a:r>
              <a:rPr lang="en-GB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Namibia), …</a:t>
            </a:r>
          </a:p>
          <a:p>
            <a:pPr marL="285750" indent="-285750">
              <a:buFontTx/>
              <a:buChar char="-"/>
            </a:pPr>
            <a:endParaRPr lang="en-GB" sz="1200">
              <a:solidFill>
                <a:srgbClr val="1C0F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ICS (Libya</a:t>
            </a:r>
            <a:r>
              <a:rPr lang="en-GB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 Salton Sea, …)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C0F4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b="1">
              <a:solidFill>
                <a:srgbClr val="1C0F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1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R </a:t>
            </a:r>
          </a:p>
          <a:p>
            <a:pPr marL="285750" indent="-285750">
              <a:buFontTx/>
              <a:buChar char="-"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au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Lake Tahoe, Salton Sea, </a:t>
            </a:r>
          </a:p>
          <a:p>
            <a:pPr marL="285750" indent="-285750">
              <a:buFontTx/>
              <a:buChar char="-"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tentially own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l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ite – synergy to other missions</a:t>
            </a:r>
          </a:p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AE324F-700A-44A5-8461-E4C75EABCFA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0255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B35BF4-21A9-99F3-380F-1C7C2F1F9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ACCA704-A5AA-B5E3-7A35-4F14722235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410DAE-4BEA-2051-9A7A-A0389A3353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8D1610-8022-F348-7FC5-C289BA221A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AE324F-700A-44A5-8461-E4C75EABCF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45140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59F548-C101-A33E-FE98-BF96877A1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8B2D65F-E3E0-CB82-CFB8-09AB562F3E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F91A06B-D1C9-DE0B-0932-90FE91C5F1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2CEC8F-CD52-6F64-0A14-66BA09EF839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3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700102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A picture containing shape&#10;&#10;Description automatically generated">
            <a:extLst>
              <a:ext uri="{FF2B5EF4-FFF2-40B4-BE49-F238E27FC236}">
                <a16:creationId xmlns:a16="http://schemas.microsoft.com/office/drawing/2014/main" id="{AE0C160B-583A-DC02-2EE6-80E00A753CE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420" b="-3440"/>
          <a:stretch/>
        </p:blipFill>
        <p:spPr>
          <a:xfrm>
            <a:off x="6043724" y="1341170"/>
            <a:ext cx="5984987" cy="417566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D3EAE6-23F8-D544-A8FB-C4C17D01E0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662" y="4622333"/>
            <a:ext cx="6952605" cy="3533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2pPr>
            <a:lvl3pPr marL="914377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3pPr>
            <a:lvl4pPr marL="1371566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4pPr>
            <a:lvl5pPr marL="1828754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5DCD33F-C046-F84B-B261-BE27D3327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662" y="3449878"/>
            <a:ext cx="6952605" cy="9845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le </a:t>
            </a:r>
            <a:r>
              <a:rPr lang="en-GB" noProof="0"/>
              <a:t>Presentation</a:t>
            </a:r>
            <a:r>
              <a:rPr lang="de-DE"/>
              <a:t>.</a:t>
            </a:r>
            <a:endParaRPr lang="en-US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F366995-6E9C-131D-7D00-4127469A13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662" y="1643678"/>
            <a:ext cx="3900409" cy="1144935"/>
          </a:xfrm>
          <a:prstGeom prst="rect">
            <a:avLst/>
          </a:prstGeom>
        </p:spPr>
      </p:pic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09AB7A36-961D-7F07-7F86-7CB4C58660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18960" y="413916"/>
            <a:ext cx="3716337" cy="2420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GB" noProof="0"/>
              <a:t>Name | </a:t>
            </a:r>
            <a:r>
              <a:rPr lang="en-GB" noProof="0" err="1"/>
              <a:t>email@constellr.com</a:t>
            </a:r>
            <a:endParaRPr lang="en-GB" noProof="0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34DAAE72-2F5B-0250-4C6F-8E97952DB2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9662" y="5546937"/>
            <a:ext cx="6952605" cy="31558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2pPr>
            <a:lvl3pPr marL="914377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3pPr>
            <a:lvl4pPr marL="1371566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4pPr>
            <a:lvl5pPr marL="1828754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5pPr>
          </a:lstStyle>
          <a:p>
            <a:pPr lvl="0"/>
            <a:r>
              <a:rPr lang="en-GB"/>
              <a:t>Location | </a:t>
            </a:r>
            <a:r>
              <a:rPr lang="en-GB" err="1"/>
              <a:t>dd.mm.yyyy</a:t>
            </a:r>
            <a:endParaRPr lang="en-US"/>
          </a:p>
        </p:txBody>
      </p:sp>
      <p:pic>
        <p:nvPicPr>
          <p:cNvPr id="3" name="Picture 5" descr="A picture containing shape&#10;&#10;Description automatically generated">
            <a:extLst>
              <a:ext uri="{FF2B5EF4-FFF2-40B4-BE49-F238E27FC236}">
                <a16:creationId xmlns:a16="http://schemas.microsoft.com/office/drawing/2014/main" id="{5392548A-F71B-F235-CBE3-7CF2B04D32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420" b="-3440"/>
          <a:stretch/>
        </p:blipFill>
        <p:spPr>
          <a:xfrm>
            <a:off x="6043724" y="1341170"/>
            <a:ext cx="5984987" cy="4175661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17F30297-C066-F273-7E68-91F3C08B74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9662" y="1643678"/>
            <a:ext cx="3900409" cy="1144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814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- headline + sublin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5F1B7D-B52A-20EF-766E-020175D579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42521"/>
            <a:ext cx="11303496" cy="408000"/>
          </a:xfrm>
        </p:spPr>
        <p:txBody>
          <a:bodyPr/>
          <a:lstStyle>
            <a:lvl1pPr>
              <a:defRPr>
                <a:solidFill>
                  <a:srgbClr val="160A42"/>
                </a:solidFill>
              </a:defRPr>
            </a:lvl1pPr>
          </a:lstStyle>
          <a:p>
            <a:r>
              <a:rPr lang="en-GB" noProof="0" err="1"/>
              <a:t>Actiontitle</a:t>
            </a:r>
            <a:r>
              <a:rPr lang="en-GB" noProof="0"/>
              <a:t> Arial 26p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76BEB7C-B531-AB01-5A91-DAE1B1CE70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750521"/>
            <a:ext cx="11303496" cy="335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rgbClr val="160A42"/>
                </a:solidFill>
              </a:defRPr>
            </a:lvl1pPr>
          </a:lstStyle>
          <a:p>
            <a:pPr lvl="0"/>
            <a:r>
              <a:rPr lang="en-GB" noProof="0"/>
              <a:t>Subtitle Arial 20pt</a:t>
            </a:r>
          </a:p>
        </p:txBody>
      </p:sp>
      <p:pic>
        <p:nvPicPr>
          <p:cNvPr id="21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7D574F85-B330-A24E-9858-E64504D1B7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8335" y="6363591"/>
            <a:ext cx="270815" cy="27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235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- 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D3EAE6-23F8-D544-A8FB-C4C17D01E0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660" y="4294173"/>
            <a:ext cx="4800000" cy="2420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2pPr>
            <a:lvl3pPr marL="914377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3pPr>
            <a:lvl4pPr marL="1371566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4pPr>
            <a:lvl5pPr marL="1828754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5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09AB7A36-961D-7F07-7F86-7CB4C58660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9663" y="4999128"/>
            <a:ext cx="4800000" cy="2420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GB" noProof="0" err="1"/>
              <a:t>email@constellr.com</a:t>
            </a:r>
            <a:endParaRPr lang="en-GB" noProof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6439D59-9D5A-F081-F358-A658CC26F3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99661" y="1643404"/>
            <a:ext cx="3898800" cy="1145208"/>
          </a:xfrm>
          <a:prstGeom prst="rect">
            <a:avLst/>
          </a:prstGeom>
        </p:spPr>
      </p:pic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DF0025E4-5219-C6E1-3F99-9C699551DE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9660" y="4704290"/>
            <a:ext cx="4800000" cy="2420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2pPr>
            <a:lvl3pPr marL="914377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3pPr>
            <a:lvl4pPr marL="1371566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4pPr>
            <a:lvl5pPr marL="1828754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5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C44D801-75DB-A785-7773-0066DC563446}"/>
              </a:ext>
            </a:extLst>
          </p:cNvPr>
          <p:cNvSpPr txBox="1"/>
          <p:nvPr/>
        </p:nvSpPr>
        <p:spPr>
          <a:xfrm>
            <a:off x="599661" y="3449878"/>
            <a:ext cx="3898799" cy="5744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sz="3600" b="1" i="0" noProof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122C85-A17D-1367-B425-8706296B02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99660" y="1643404"/>
            <a:ext cx="3898800" cy="1145208"/>
          </a:xfrm>
          <a:prstGeom prst="rect">
            <a:avLst/>
          </a:prstGeom>
        </p:spPr>
      </p:pic>
      <p:sp>
        <p:nvSpPr>
          <p:cNvPr id="6" name="Textfeld 9">
            <a:extLst>
              <a:ext uri="{FF2B5EF4-FFF2-40B4-BE49-F238E27FC236}">
                <a16:creationId xmlns:a16="http://schemas.microsoft.com/office/drawing/2014/main" id="{42D58B7F-0402-DED5-4357-CAE16E108537}"/>
              </a:ext>
            </a:extLst>
          </p:cNvPr>
          <p:cNvSpPr txBox="1"/>
          <p:nvPr userDrawn="1"/>
        </p:nvSpPr>
        <p:spPr>
          <a:xfrm>
            <a:off x="599661" y="3449878"/>
            <a:ext cx="3898799" cy="5744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sz="3600" b="1" i="0" noProof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40713248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- 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D3EAE6-23F8-D544-A8FB-C4C17D01E0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660" y="4294173"/>
            <a:ext cx="4800000" cy="2420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2pPr>
            <a:lvl3pPr marL="914377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3pPr>
            <a:lvl4pPr marL="1371566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4pPr>
            <a:lvl5pPr marL="1828754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5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09AB7A36-961D-7F07-7F86-7CB4C58660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9663" y="4999128"/>
            <a:ext cx="4800000" cy="2420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GB" noProof="0" err="1"/>
              <a:t>email@constellr.com</a:t>
            </a:r>
            <a:endParaRPr lang="en-GB" noProof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6439D59-9D5A-F081-F358-A658CC26F3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99661" y="1643404"/>
            <a:ext cx="3898800" cy="1145208"/>
          </a:xfrm>
          <a:prstGeom prst="rect">
            <a:avLst/>
          </a:prstGeom>
        </p:spPr>
      </p:pic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DF0025E4-5219-C6E1-3F99-9C699551DE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9660" y="4704290"/>
            <a:ext cx="4800000" cy="2420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2pPr>
            <a:lvl3pPr marL="914377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3pPr>
            <a:lvl4pPr marL="1371566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4pPr>
            <a:lvl5pPr marL="1828754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5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C44D801-75DB-A785-7773-0066DC563446}"/>
              </a:ext>
            </a:extLst>
          </p:cNvPr>
          <p:cNvSpPr txBox="1"/>
          <p:nvPr/>
        </p:nvSpPr>
        <p:spPr>
          <a:xfrm>
            <a:off x="599661" y="3449877"/>
            <a:ext cx="3898799" cy="5744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sz="3600" b="1" i="0" noProof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 questions?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28E319C-5523-5E57-1A4C-5B79B58218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99661" y="1643404"/>
            <a:ext cx="3898800" cy="1145208"/>
          </a:xfrm>
          <a:prstGeom prst="rect">
            <a:avLst/>
          </a:prstGeom>
        </p:spPr>
      </p:pic>
      <p:sp>
        <p:nvSpPr>
          <p:cNvPr id="6" name="Textfeld 9">
            <a:extLst>
              <a:ext uri="{FF2B5EF4-FFF2-40B4-BE49-F238E27FC236}">
                <a16:creationId xmlns:a16="http://schemas.microsoft.com/office/drawing/2014/main" id="{FF8A813B-3C6C-EF90-C3EE-89E208F47348}"/>
              </a:ext>
            </a:extLst>
          </p:cNvPr>
          <p:cNvSpPr txBox="1"/>
          <p:nvPr userDrawn="1"/>
        </p:nvSpPr>
        <p:spPr>
          <a:xfrm>
            <a:off x="599661" y="3449877"/>
            <a:ext cx="3898799" cy="5744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sz="3600" b="1" i="0" noProof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 questions?</a:t>
            </a:r>
          </a:p>
        </p:txBody>
      </p:sp>
    </p:spTree>
    <p:extLst>
      <p:ext uri="{BB962C8B-B14F-4D97-AF65-F5344CB8AC3E}">
        <p14:creationId xmlns:p14="http://schemas.microsoft.com/office/powerpoint/2010/main" val="11550826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_White" type="blank" preserve="1">
  <p:cSld name="1_Blank_Whit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9" descr="Logo&#10;&#10;Description automatically generated">
            <a:extLst>
              <a:ext uri="{FF2B5EF4-FFF2-40B4-BE49-F238E27FC236}">
                <a16:creationId xmlns:a16="http://schemas.microsoft.com/office/drawing/2014/main" id="{27F9FEAE-4142-5A4A-8A11-C36806E69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7354"/>
          <a:stretch/>
        </p:blipFill>
        <p:spPr>
          <a:xfrm>
            <a:off x="318335" y="6361557"/>
            <a:ext cx="302947" cy="272397"/>
          </a:xfrm>
          <a:prstGeom prst="rect">
            <a:avLst/>
          </a:prstGeom>
        </p:spPr>
      </p:pic>
      <p:grpSp>
        <p:nvGrpSpPr>
          <p:cNvPr id="13" name="Google Shape;22;p21">
            <a:extLst>
              <a:ext uri="{FF2B5EF4-FFF2-40B4-BE49-F238E27FC236}">
                <a16:creationId xmlns:a16="http://schemas.microsoft.com/office/drawing/2014/main" id="{529DB738-BAC0-8C4C-9AF6-1690E75BF739}"/>
              </a:ext>
            </a:extLst>
          </p:cNvPr>
          <p:cNvGrpSpPr/>
          <p:nvPr userDrawn="1"/>
        </p:nvGrpSpPr>
        <p:grpSpPr>
          <a:xfrm>
            <a:off x="780902" y="6376424"/>
            <a:ext cx="11225337" cy="237600"/>
            <a:chOff x="986153" y="6425259"/>
            <a:chExt cx="11225337" cy="237600"/>
          </a:xfrm>
        </p:grpSpPr>
        <p:sp>
          <p:nvSpPr>
            <p:cNvPr id="14" name="Google Shape;24;p21">
              <a:extLst>
                <a:ext uri="{FF2B5EF4-FFF2-40B4-BE49-F238E27FC236}">
                  <a16:creationId xmlns:a16="http://schemas.microsoft.com/office/drawing/2014/main" id="{1938FFB1-CF10-8547-8582-D093837F38A0}"/>
                </a:ext>
              </a:extLst>
            </p:cNvPr>
            <p:cNvSpPr/>
            <p:nvPr userDrawn="1"/>
          </p:nvSpPr>
          <p:spPr>
            <a:xfrm>
              <a:off x="10537047" y="6425259"/>
              <a:ext cx="1674443" cy="237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468000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 b="0" i="0" baseline="0" err="1">
                  <a:solidFill>
                    <a:schemeClr val="bg1"/>
                  </a:solidFill>
                  <a:latin typeface="Eina 04 Regular" panose="02000000000000000000" pitchFamily="50" charset="0"/>
                  <a:ea typeface="Arial"/>
                  <a:cs typeface="Arial"/>
                  <a:sym typeface="Arial"/>
                </a:rPr>
                <a:t>www.constellr.com</a:t>
              </a:r>
              <a:endParaRPr sz="800" b="0" i="0" baseline="0">
                <a:solidFill>
                  <a:schemeClr val="bg1"/>
                </a:solidFill>
                <a:latin typeface="Eina 04 Regular" panose="02000000000000000000" pitchFamily="50" charset="0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5" name="Google Shape;25;p21">
              <a:extLst>
                <a:ext uri="{FF2B5EF4-FFF2-40B4-BE49-F238E27FC236}">
                  <a16:creationId xmlns:a16="http://schemas.microsoft.com/office/drawing/2014/main" id="{6B2E3E17-037D-EF42-BF18-1787DCA02D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6153" y="6559384"/>
              <a:ext cx="9711607" cy="0"/>
            </a:xfrm>
            <a:prstGeom prst="straightConnector1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3A8DCEC-9E20-134B-A273-F752A2FD22D9}"/>
              </a:ext>
            </a:extLst>
          </p:cNvPr>
          <p:cNvSpPr>
            <a:spLocks noGrp="1"/>
          </p:cNvSpPr>
          <p:nvPr userDrawn="1"/>
        </p:nvSpPr>
        <p:spPr>
          <a:xfrm>
            <a:off x="11646960" y="6312367"/>
            <a:ext cx="4534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954F201E-321C-ED4E-9F53-68590F2F51CB}" type="slidenum">
              <a:rPr lang="en-VN" sz="800" b="1" i="0" baseline="0" smtClean="0">
                <a:solidFill>
                  <a:schemeClr val="bg1"/>
                </a:solidFill>
              </a:rPr>
              <a:pPr/>
              <a:t>‹#›</a:t>
            </a:fld>
            <a:endParaRPr lang="en-VN" sz="800" b="1" i="0" baseline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1919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2467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D691B7-74EC-E11E-6666-B7ED7242C0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99D4D-A2FD-17B9-9540-5EC4EF22F3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4713A-B099-B484-6C7B-E799FC1851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27649-9264-4A95-9FC8-8DF321E74749}" type="datetimeFigureOut">
              <a:rPr lang="en-GB" smtClean="0"/>
              <a:t>03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756DDC-3524-C9AE-468E-9082E54B32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F63548-0E76-598C-269C-9992DCFF9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357DF-931C-47B4-B0C7-8F54ED07BE9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93454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_White" type="blank">
  <p:cSld name="Blank_Whit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oogle Shape;22;p21">
            <a:extLst>
              <a:ext uri="{FF2B5EF4-FFF2-40B4-BE49-F238E27FC236}">
                <a16:creationId xmlns:a16="http://schemas.microsoft.com/office/drawing/2014/main" id="{F8A1DB9A-681B-3E49-A6F2-FD71764C2628}"/>
              </a:ext>
            </a:extLst>
          </p:cNvPr>
          <p:cNvGrpSpPr/>
          <p:nvPr userDrawn="1"/>
        </p:nvGrpSpPr>
        <p:grpSpPr>
          <a:xfrm>
            <a:off x="780902" y="6376424"/>
            <a:ext cx="11319467" cy="237600"/>
            <a:chOff x="986153" y="6425259"/>
            <a:chExt cx="11319467" cy="237600"/>
          </a:xfrm>
        </p:grpSpPr>
        <p:sp>
          <p:nvSpPr>
            <p:cNvPr id="10" name="Google Shape;24;p21">
              <a:extLst>
                <a:ext uri="{FF2B5EF4-FFF2-40B4-BE49-F238E27FC236}">
                  <a16:creationId xmlns:a16="http://schemas.microsoft.com/office/drawing/2014/main" id="{FCA96FFE-C8C0-014F-8D41-B46C019799A6}"/>
                </a:ext>
              </a:extLst>
            </p:cNvPr>
            <p:cNvSpPr/>
            <p:nvPr userDrawn="1"/>
          </p:nvSpPr>
          <p:spPr>
            <a:xfrm>
              <a:off x="10631177" y="6425259"/>
              <a:ext cx="1674443" cy="237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468000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 b="0" i="0" baseline="0" err="1">
                  <a:solidFill>
                    <a:schemeClr val="tx1"/>
                  </a:solidFill>
                  <a:latin typeface="Eina 04 Regular" panose="02000000000000000000" pitchFamily="50" charset="0"/>
                  <a:ea typeface="Arial"/>
                  <a:cs typeface="Arial"/>
                  <a:sym typeface="Arial"/>
                </a:rPr>
                <a:t>www.constellr.com</a:t>
              </a:r>
              <a:endParaRPr sz="800" b="0" i="0" baseline="0">
                <a:solidFill>
                  <a:schemeClr val="tx1"/>
                </a:solidFill>
                <a:latin typeface="Eina 04 Regular" panose="02000000000000000000" pitchFamily="50" charset="0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" name="Google Shape;25;p21">
              <a:extLst>
                <a:ext uri="{FF2B5EF4-FFF2-40B4-BE49-F238E27FC236}">
                  <a16:creationId xmlns:a16="http://schemas.microsoft.com/office/drawing/2014/main" id="{53E23361-B30B-AB48-9B2E-4ED02859DEA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6153" y="6559384"/>
              <a:ext cx="9711607" cy="0"/>
            </a:xfrm>
            <a:prstGeom prst="straightConnector1">
              <a:avLst/>
            </a:prstGeom>
            <a:noFill/>
            <a:ln w="9525" cap="flat" cmpd="sng">
              <a:solidFill>
                <a:schemeClr val="tx1">
                  <a:alpha val="5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6F1BC767-5459-2049-A571-D11998615065}"/>
              </a:ext>
            </a:extLst>
          </p:cNvPr>
          <p:cNvSpPr>
            <a:spLocks noGrp="1"/>
          </p:cNvSpPr>
          <p:nvPr userDrawn="1"/>
        </p:nvSpPr>
        <p:spPr>
          <a:xfrm>
            <a:off x="11646960" y="6312367"/>
            <a:ext cx="4534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954F201E-321C-ED4E-9F53-68590F2F51CB}" type="slidenum">
              <a:rPr lang="en-VN" sz="800" b="1" i="0" baseline="0" smtClean="0"/>
              <a:pPr/>
              <a:t>‹#›</a:t>
            </a:fld>
            <a:endParaRPr lang="en-VN" sz="800" b="1" i="0" baseline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B832454-EE2C-4F42-BCB5-F87DF89BC946}"/>
              </a:ext>
            </a:extLst>
          </p:cNvPr>
          <p:cNvSpPr/>
          <p:nvPr userDrawn="1"/>
        </p:nvSpPr>
        <p:spPr>
          <a:xfrm rot="10800000">
            <a:off x="-2" y="-21228"/>
            <a:ext cx="12192001" cy="2296741"/>
          </a:xfrm>
          <a:prstGeom prst="rect">
            <a:avLst/>
          </a:prstGeom>
          <a:gradFill flip="none" rotWithShape="1">
            <a:gsLst>
              <a:gs pos="100000">
                <a:srgbClr val="150A42">
                  <a:alpha val="0"/>
                </a:srgbClr>
              </a:gs>
              <a:gs pos="0">
                <a:srgbClr val="123774"/>
              </a:gs>
            </a:gsLst>
            <a:lin ang="16200000" scaled="1"/>
            <a:tileRect/>
          </a:gradFill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e-DE" sz="1800">
              <a:ln>
                <a:solidFill>
                  <a:srgbClr val="000000"/>
                </a:solidFill>
              </a:ln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9" descr="Logo&#10;&#10;Description automatically generated">
            <a:extLst>
              <a:ext uri="{FF2B5EF4-FFF2-40B4-BE49-F238E27FC236}">
                <a16:creationId xmlns:a16="http://schemas.microsoft.com/office/drawing/2014/main" id="{F4B03D16-1397-D040-8BED-3E4AF0737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7354"/>
          <a:stretch/>
        </p:blipFill>
        <p:spPr>
          <a:xfrm>
            <a:off x="318335" y="6353650"/>
            <a:ext cx="309235" cy="278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7738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_White" type="blank" preserve="1">
  <p:cSld name="1_Blank_Whit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oogle Shape;22;p21">
            <a:extLst>
              <a:ext uri="{FF2B5EF4-FFF2-40B4-BE49-F238E27FC236}">
                <a16:creationId xmlns:a16="http://schemas.microsoft.com/office/drawing/2014/main" id="{2C9E12A7-67AA-2D45-B302-7CBA04D4FB22}"/>
              </a:ext>
            </a:extLst>
          </p:cNvPr>
          <p:cNvGrpSpPr/>
          <p:nvPr userDrawn="1"/>
        </p:nvGrpSpPr>
        <p:grpSpPr>
          <a:xfrm>
            <a:off x="780902" y="6376424"/>
            <a:ext cx="11319467" cy="237600"/>
            <a:chOff x="986153" y="6425259"/>
            <a:chExt cx="11319467" cy="237600"/>
          </a:xfrm>
        </p:grpSpPr>
        <p:sp>
          <p:nvSpPr>
            <p:cNvPr id="13" name="Google Shape;24;p21">
              <a:extLst>
                <a:ext uri="{FF2B5EF4-FFF2-40B4-BE49-F238E27FC236}">
                  <a16:creationId xmlns:a16="http://schemas.microsoft.com/office/drawing/2014/main" id="{D678E21E-6F60-5E4F-AFA9-A6E298A90B2E}"/>
                </a:ext>
              </a:extLst>
            </p:cNvPr>
            <p:cNvSpPr/>
            <p:nvPr userDrawn="1"/>
          </p:nvSpPr>
          <p:spPr>
            <a:xfrm>
              <a:off x="10631177" y="6425259"/>
              <a:ext cx="1674443" cy="237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468000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 b="0" i="0" baseline="0" err="1">
                  <a:solidFill>
                    <a:schemeClr val="tx1"/>
                  </a:solidFill>
                  <a:latin typeface="Eina 04 Regular" panose="02000000000000000000" pitchFamily="50" charset="0"/>
                  <a:ea typeface="Arial"/>
                  <a:cs typeface="Arial"/>
                  <a:sym typeface="Arial"/>
                </a:rPr>
                <a:t>www.constellr.com</a:t>
              </a:r>
              <a:endParaRPr sz="800" b="0" i="0" baseline="0">
                <a:solidFill>
                  <a:schemeClr val="tx1"/>
                </a:solidFill>
                <a:latin typeface="Eina 04 Regular" panose="02000000000000000000" pitchFamily="50" charset="0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4" name="Google Shape;25;p21">
              <a:extLst>
                <a:ext uri="{FF2B5EF4-FFF2-40B4-BE49-F238E27FC236}">
                  <a16:creationId xmlns:a16="http://schemas.microsoft.com/office/drawing/2014/main" id="{B9EC9F90-3522-B145-9FC5-D54B64B74A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6153" y="6559384"/>
              <a:ext cx="9711607" cy="0"/>
            </a:xfrm>
            <a:prstGeom prst="straightConnector1">
              <a:avLst/>
            </a:prstGeom>
            <a:noFill/>
            <a:ln w="9525" cap="flat" cmpd="sng">
              <a:solidFill>
                <a:schemeClr val="tx1">
                  <a:alpha val="5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C01EF0B-4145-EA4F-8E23-E46E7A13FB3F}"/>
              </a:ext>
            </a:extLst>
          </p:cNvPr>
          <p:cNvSpPr>
            <a:spLocks noGrp="1"/>
          </p:cNvSpPr>
          <p:nvPr userDrawn="1"/>
        </p:nvSpPr>
        <p:spPr>
          <a:xfrm>
            <a:off x="11646960" y="6312367"/>
            <a:ext cx="4534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954F201E-321C-ED4E-9F53-68590F2F51CB}" type="slidenum">
              <a:rPr lang="en-VN" sz="800" b="1" i="0" baseline="0" smtClean="0"/>
              <a:pPr/>
              <a:t>‹#›</a:t>
            </a:fld>
            <a:endParaRPr lang="en-VN" sz="800" b="1" i="0" baseline="0"/>
          </a:p>
        </p:txBody>
      </p:sp>
      <p:pic>
        <p:nvPicPr>
          <p:cNvPr id="17" name="Picture 9" descr="Logo&#10;&#10;Description automatically generated">
            <a:extLst>
              <a:ext uri="{FF2B5EF4-FFF2-40B4-BE49-F238E27FC236}">
                <a16:creationId xmlns:a16="http://schemas.microsoft.com/office/drawing/2014/main" id="{BB853838-B602-284B-8634-82E90889BB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7354"/>
          <a:stretch/>
        </p:blipFill>
        <p:spPr>
          <a:xfrm>
            <a:off x="318335" y="6353650"/>
            <a:ext cx="309235" cy="278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7187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">
  <p:cSld name="White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Google Shape;42;p21"/>
          <p:cNvCxnSpPr/>
          <p:nvPr/>
        </p:nvCxnSpPr>
        <p:spPr>
          <a:xfrm>
            <a:off x="1008668" y="6559384"/>
            <a:ext cx="9480648" cy="0"/>
          </a:xfrm>
          <a:prstGeom prst="straightConnector1">
            <a:avLst/>
          </a:prstGeom>
          <a:noFill/>
          <a:ln w="9525" cap="flat" cmpd="sng">
            <a:solidFill>
              <a:srgbClr val="1C0F46">
                <a:alpha val="49803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" name="Google Shape;43;p21"/>
          <p:cNvSpPr txBox="1"/>
          <p:nvPr/>
        </p:nvSpPr>
        <p:spPr>
          <a:xfrm>
            <a:off x="11724866" y="6451433"/>
            <a:ext cx="3417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600" b="1" i="0" u="none" strike="noStrike" cap="none">
                <a:solidFill>
                  <a:srgbClr val="1C0F46"/>
                </a:solidFill>
                <a:latin typeface="Eina 04 Regular" panose="02000000000000000000" pitchFamily="50" charset="0"/>
                <a:ea typeface="Arial"/>
                <a:cs typeface="Arial"/>
                <a:sym typeface="Arial"/>
              </a:rPr>
              <a:t>‹#›</a:t>
            </a:fld>
            <a:endParaRPr sz="600" b="1" i="0" u="none" strike="noStrike" cap="none">
              <a:solidFill>
                <a:srgbClr val="1C0F46"/>
              </a:solidFill>
              <a:latin typeface="Eina 04 Regular" panose="02000000000000000000" pitchFamily="50" charset="0"/>
              <a:ea typeface="Arial"/>
              <a:cs typeface="Arial"/>
              <a:sym typeface="Arial"/>
            </a:endParaRPr>
          </a:p>
        </p:txBody>
      </p:sp>
      <p:pic>
        <p:nvPicPr>
          <p:cNvPr id="44" name="Google Shape;44;p21" descr="Sunburst chart&#10;&#10;Description automatically generated with medium confidence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504" y="6314662"/>
            <a:ext cx="270815" cy="273541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Google Shape;45;p21"/>
          <p:cNvSpPr txBox="1">
            <a:spLocks noGrp="1"/>
          </p:cNvSpPr>
          <p:nvPr>
            <p:ph type="body" idx="1"/>
          </p:nvPr>
        </p:nvSpPr>
        <p:spPr>
          <a:xfrm>
            <a:off x="488852" y="1493740"/>
            <a:ext cx="5346700" cy="4195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Eina 04 Regular" panose="02000000000000000000" pitchFamily="50" charset="0"/>
                <a:ea typeface="Eina 04 Regular" panose="02000000000000000000" pitchFamily="50" charset="0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None/>
              <a:defRPr sz="1600" b="0" i="1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" name="Google Shape;46;p21"/>
          <p:cNvSpPr txBox="1">
            <a:spLocks noGrp="1"/>
          </p:cNvSpPr>
          <p:nvPr>
            <p:ph type="title"/>
          </p:nvPr>
        </p:nvSpPr>
        <p:spPr>
          <a:xfrm>
            <a:off x="488852" y="344404"/>
            <a:ext cx="10515600" cy="360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Arial"/>
              <a:buNone/>
              <a:defRPr sz="2600" b="1" i="0" u="none" strike="noStrike" cap="none">
                <a:solidFill>
                  <a:schemeClr val="dk2"/>
                </a:solidFill>
                <a:latin typeface="Eina 04 Regular" panose="02000000000000000000" pitchFamily="50" charset="0"/>
                <a:ea typeface="Eina 04 Regular" panose="02000000000000000000" pitchFamily="50" charset="0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7" name="Google Shape;47;p21"/>
          <p:cNvSpPr txBox="1">
            <a:spLocks noGrp="1"/>
          </p:cNvSpPr>
          <p:nvPr>
            <p:ph type="body" idx="2"/>
          </p:nvPr>
        </p:nvSpPr>
        <p:spPr>
          <a:xfrm>
            <a:off x="488852" y="733634"/>
            <a:ext cx="2309813" cy="310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2"/>
                </a:solidFill>
                <a:latin typeface="Eina 04 Regular" panose="02000000000000000000" pitchFamily="50" charset="0"/>
                <a:ea typeface="Eina 04 Regular" panose="02000000000000000000" pitchFamily="50" charset="0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" name="Google Shape;48;p21"/>
          <p:cNvSpPr txBox="1">
            <a:spLocks noGrp="1"/>
          </p:cNvSpPr>
          <p:nvPr>
            <p:ph type="ftr" idx="11"/>
          </p:nvPr>
        </p:nvSpPr>
        <p:spPr>
          <a:xfrm>
            <a:off x="911932" y="6287524"/>
            <a:ext cx="958891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chemeClr val="dk1"/>
                </a:solidFill>
                <a:latin typeface="Eina 04 Regular" panose="02000000000000000000" pitchFamily="50" charset="0"/>
                <a:ea typeface="Eina 04 Regular" panose="02000000000000000000" pitchFamily="50" charset="0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hristophe.lerot@constellr.com</a:t>
            </a:r>
          </a:p>
        </p:txBody>
      </p:sp>
    </p:spTree>
    <p:extLst>
      <p:ext uri="{BB962C8B-B14F-4D97-AF65-F5344CB8AC3E}">
        <p14:creationId xmlns:p14="http://schemas.microsoft.com/office/powerpoint/2010/main" val="2717222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orient="horz" pos="595">
          <p15:clr>
            <a:srgbClr val="FBAE40"/>
          </p15:clr>
        </p15:guide>
        <p15:guide id="3" pos="3840">
          <p15:clr>
            <a:srgbClr val="FBAE40"/>
          </p15:clr>
        </p15:guide>
        <p15:guide id="4" pos="302">
          <p15:clr>
            <a:srgbClr val="FBAE40"/>
          </p15:clr>
        </p15:guide>
        <p15:guide id="5" pos="7378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orient="horz" pos="93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_White" userDrawn="1">
  <p:cSld name="1_Blank_Whit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83B34B-D84F-4C0A-5F34-941266D3B6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42521"/>
            <a:ext cx="11303496" cy="4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err="1"/>
              <a:t>Actiontitle</a:t>
            </a:r>
            <a:r>
              <a:rPr lang="en-GB" noProof="0"/>
              <a:t> Arial 26p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4EE1F088-8F76-8AD0-5F58-5D2CD69E80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750521"/>
            <a:ext cx="11303496" cy="335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Subtitle Arial 20pt</a:t>
            </a:r>
          </a:p>
        </p:txBody>
      </p:sp>
      <p:sp>
        <p:nvSpPr>
          <p:cNvPr id="4" name="Textplatzhalter 14">
            <a:extLst>
              <a:ext uri="{FF2B5EF4-FFF2-40B4-BE49-F238E27FC236}">
                <a16:creationId xmlns:a16="http://schemas.microsoft.com/office/drawing/2014/main" id="{7D099F78-48CF-F078-B8CC-01F2E79888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6403" y="6296766"/>
            <a:ext cx="9866523" cy="2735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+mj-lt"/>
              <a:buNone/>
              <a:defRPr lang="en-GB" sz="1600" dirty="0">
                <a:solidFill>
                  <a:srgbClr val="E0DFE4"/>
                </a:solidFill>
              </a:defRPr>
            </a:lvl1pPr>
          </a:lstStyle>
          <a:p>
            <a:pPr lvl="0"/>
            <a:r>
              <a:rPr lang="en-GB" noProof="0"/>
              <a:t>Source: constellr</a:t>
            </a:r>
          </a:p>
        </p:txBody>
      </p:sp>
      <p:pic>
        <p:nvPicPr>
          <p:cNvPr id="5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F02D57B9-517D-66D9-5F96-BA82C2F3E6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2" y="6296767"/>
            <a:ext cx="270815" cy="273541"/>
          </a:xfrm>
          <a:prstGeom prst="rect">
            <a:avLst/>
          </a:prstGeom>
        </p:spPr>
      </p:pic>
      <p:pic>
        <p:nvPicPr>
          <p:cNvPr id="6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8B882B4F-6837-93AF-CD3C-014E5ACF38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2" y="6296767"/>
            <a:ext cx="270815" cy="273541"/>
          </a:xfrm>
          <a:prstGeom prst="rect">
            <a:avLst/>
          </a:prstGeom>
        </p:spPr>
      </p:pic>
      <p:sp>
        <p:nvSpPr>
          <p:cNvPr id="7" name="Textfeld 10">
            <a:extLst>
              <a:ext uri="{FF2B5EF4-FFF2-40B4-BE49-F238E27FC236}">
                <a16:creationId xmlns:a16="http://schemas.microsoft.com/office/drawing/2014/main" id="{B6218C86-1B82-8395-18E4-C6D6D2505F65}"/>
              </a:ext>
            </a:extLst>
          </p:cNvPr>
          <p:cNvSpPr txBox="1"/>
          <p:nvPr userDrawn="1"/>
        </p:nvSpPr>
        <p:spPr>
          <a:xfrm>
            <a:off x="10892852" y="6296771"/>
            <a:ext cx="738233" cy="27353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defPPr>
              <a:defRPr lang="en-VN"/>
            </a:defPPr>
            <a:lvl1pPr>
              <a:defRPr sz="600" b="1">
                <a:solidFill>
                  <a:srgbClr val="1C0F46"/>
                </a:solidFill>
                <a:latin typeface="Eina 04 Bold" panose="02000000000000000000" pitchFamily="2" charset="77"/>
              </a:defRPr>
            </a:lvl1pPr>
          </a:lstStyle>
          <a:p>
            <a:pPr lvl="0" algn="r"/>
            <a:fld id="{F1A57C80-F92D-4D61-91C4-F4D173B6125F}" type="slidenum">
              <a:rPr lang="en-GB" sz="1600" b="0" i="0" noProof="0" smtClean="0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GB" sz="1600" b="0" i="0" noProof="0"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1896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-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09AB7A36-961D-7F07-7F86-7CB4C58660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18960" y="413916"/>
            <a:ext cx="3716337" cy="2420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GB" noProof="0"/>
              <a:t>Name | </a:t>
            </a:r>
            <a:r>
              <a:rPr lang="en-GB" noProof="0" err="1"/>
              <a:t>email@constellr.com</a:t>
            </a:r>
            <a:endParaRPr lang="en-GB" noProof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6439D59-9D5A-F081-F358-A658CC26F3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99661" y="1643404"/>
            <a:ext cx="3898800" cy="1145208"/>
          </a:xfrm>
          <a:prstGeom prst="rect">
            <a:avLst/>
          </a:prstGeom>
        </p:spPr>
      </p:pic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6ACFCAC-946F-9B35-6C07-63C6E9CAC7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662" y="4622333"/>
            <a:ext cx="6952605" cy="3533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2pPr>
            <a:lvl3pPr marL="914377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3pPr>
            <a:lvl4pPr marL="1371566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4pPr>
            <a:lvl5pPr marL="1828754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5pPr>
          </a:lstStyle>
          <a:p>
            <a:pPr lvl="0"/>
            <a:r>
              <a:rPr lang="en-GB"/>
              <a:t>Subtitle</a:t>
            </a:r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7DF050C-0661-B4B9-05E3-7BA29874E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662" y="3449878"/>
            <a:ext cx="6952605" cy="9845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le </a:t>
            </a:r>
            <a:r>
              <a:rPr lang="en-GB" noProof="0"/>
              <a:t>Presentation</a:t>
            </a:r>
            <a:r>
              <a:rPr lang="de-DE"/>
              <a:t>.</a:t>
            </a:r>
            <a:endParaRPr lang="en-US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61C9265-1ABE-7579-3ACC-73BFCAF4D1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9662" y="5546937"/>
            <a:ext cx="6952605" cy="31558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2pPr>
            <a:lvl3pPr marL="914377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3pPr>
            <a:lvl4pPr marL="1371566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4pPr>
            <a:lvl5pPr marL="1828754" indent="0">
              <a:buNone/>
              <a:defRPr sz="2000">
                <a:solidFill>
                  <a:schemeClr val="bg1"/>
                </a:solidFill>
                <a:latin typeface="☞EINA04-REGULAR" panose="02000000000000000000" pitchFamily="2" charset="77"/>
              </a:defRPr>
            </a:lvl5pPr>
          </a:lstStyle>
          <a:p>
            <a:pPr lvl="0"/>
            <a:r>
              <a:rPr lang="en-GB"/>
              <a:t>Location | </a:t>
            </a:r>
            <a:r>
              <a:rPr lang="en-GB" err="1"/>
              <a:t>dd.mm.yyyy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611A03A-D29A-93C7-3F61-2E7D9613D8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99661" y="1643404"/>
            <a:ext cx="3898800" cy="114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7513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White Appendix" userDrawn="1">
  <p:cSld name="1_White Appendix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4" name="Google Shape;84;p25"/>
          <p:cNvCxnSpPr/>
          <p:nvPr/>
        </p:nvCxnSpPr>
        <p:spPr>
          <a:xfrm>
            <a:off x="986153" y="6559384"/>
            <a:ext cx="9418320" cy="0"/>
          </a:xfrm>
          <a:prstGeom prst="straightConnector1">
            <a:avLst/>
          </a:prstGeom>
          <a:noFill/>
          <a:ln w="9525" cap="flat" cmpd="sng">
            <a:solidFill>
              <a:srgbClr val="1C0F46">
                <a:alpha val="49803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86" name="Google Shape;86;p25" descr="Sunburst chart&#10;&#10;Description automatically generated with medium confidence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504" y="6314662"/>
            <a:ext cx="270815" cy="2735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089641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- 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3EB8D62-480C-106A-5F95-2D65EF15F4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54923" y="6568377"/>
            <a:ext cx="9870279" cy="310923"/>
          </a:xfrm>
          <a:prstGeom prst="rect">
            <a:avLst/>
          </a:prstGeom>
        </p:spPr>
      </p:pic>
      <p:sp>
        <p:nvSpPr>
          <p:cNvPr id="2" name="Textfeld 10">
            <a:extLst>
              <a:ext uri="{FF2B5EF4-FFF2-40B4-BE49-F238E27FC236}">
                <a16:creationId xmlns:a16="http://schemas.microsoft.com/office/drawing/2014/main" id="{1A703D48-F546-178C-FB40-991734B63DD0}"/>
              </a:ext>
            </a:extLst>
          </p:cNvPr>
          <p:cNvSpPr txBox="1"/>
          <p:nvPr userDrawn="1"/>
        </p:nvSpPr>
        <p:spPr>
          <a:xfrm>
            <a:off x="10892852" y="6568377"/>
            <a:ext cx="738233" cy="27353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defPPr>
              <a:defRPr lang="en-VN"/>
            </a:defPPr>
            <a:lvl1pPr>
              <a:defRPr sz="600" b="1">
                <a:solidFill>
                  <a:srgbClr val="1C0F46"/>
                </a:solidFill>
                <a:latin typeface="Eina 04 Bold" panose="02000000000000000000" pitchFamily="2" charset="77"/>
              </a:defRPr>
            </a:lvl1pPr>
          </a:lstStyle>
          <a:p>
            <a:pPr lvl="0" algn="r"/>
            <a:fld id="{F1A57C80-F92D-4D61-91C4-F4D173B6125F}" type="slidenum">
              <a:rPr lang="en-GB" sz="1600" b="0" i="0" noProof="0" smtClean="0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GB" sz="1600" b="0" i="0" noProof="0"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21A36C6B-7EB5-CEA6-73FC-00E140B59B1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1236" y="6335487"/>
            <a:ext cx="501381" cy="506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292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42496-03A1-12B9-759E-6B288ECF1F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platzhalter 21">
            <a:extLst>
              <a:ext uri="{FF2B5EF4-FFF2-40B4-BE49-F238E27FC236}">
                <a16:creationId xmlns:a16="http://schemas.microsoft.com/office/drawing/2014/main" id="{880647BD-E7FB-476F-F495-0347C5FBAC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4816" y="6568377"/>
            <a:ext cx="9866523" cy="2735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GB" sz="11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307192" lvl="0" indent="-307192"/>
            <a:r>
              <a:rPr lang="en-BE"/>
              <a:t>christophe.lerot@constellr.com – LST_CCI </a:t>
            </a:r>
            <a:r>
              <a:rPr lang="en-BE" err="1"/>
              <a:t>worshop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97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- headline + sublin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5F1B7D-B52A-20EF-766E-020175D579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42521"/>
            <a:ext cx="11303496" cy="408000"/>
          </a:xfrm>
        </p:spPr>
        <p:txBody>
          <a:bodyPr/>
          <a:lstStyle>
            <a:lvl1pPr>
              <a:defRPr>
                <a:solidFill>
                  <a:srgbClr val="160A42"/>
                </a:solidFill>
              </a:defRPr>
            </a:lvl1pPr>
          </a:lstStyle>
          <a:p>
            <a:r>
              <a:rPr lang="en-GB" noProof="0" err="1"/>
              <a:t>Actiontitle</a:t>
            </a:r>
            <a:r>
              <a:rPr lang="en-GB" noProof="0"/>
              <a:t> Arial 26p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76BEB7C-B531-AB01-5A91-DAE1B1CE70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750521"/>
            <a:ext cx="11303496" cy="335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rgbClr val="160A42"/>
                </a:solidFill>
              </a:defRPr>
            </a:lvl1pPr>
          </a:lstStyle>
          <a:p>
            <a:pPr lvl="0"/>
            <a:r>
              <a:rPr lang="en-GB" noProof="0"/>
              <a:t>Subtitle Arial 20p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DE339AB-94EA-E132-E18E-5E58972EC5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6403" y="6296766"/>
            <a:ext cx="9866523" cy="2735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+mj-lt"/>
              <a:buNone/>
              <a:defRPr lang="en-GB" sz="1600" dirty="0">
                <a:solidFill>
                  <a:srgbClr val="E0DFE4"/>
                </a:solidFill>
              </a:defRPr>
            </a:lvl1pPr>
          </a:lstStyle>
          <a:p>
            <a:pPr lvl="0"/>
            <a:r>
              <a:rPr lang="en-GB" noProof="0"/>
              <a:t>Source: constellr</a:t>
            </a:r>
          </a:p>
        </p:txBody>
      </p:sp>
      <p:pic>
        <p:nvPicPr>
          <p:cNvPr id="16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619EE338-42AB-03EB-DDE9-E2D94E92C2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2" y="6296767"/>
            <a:ext cx="270815" cy="273541"/>
          </a:xfrm>
          <a:prstGeom prst="rect">
            <a:avLst/>
          </a:prstGeom>
        </p:spPr>
      </p:pic>
      <p:sp>
        <p:nvSpPr>
          <p:cNvPr id="19" name="Textfeld 10">
            <a:extLst>
              <a:ext uri="{FF2B5EF4-FFF2-40B4-BE49-F238E27FC236}">
                <a16:creationId xmlns:a16="http://schemas.microsoft.com/office/drawing/2014/main" id="{5BF3DE16-130E-1839-915D-4F15D1BE3E60}"/>
              </a:ext>
            </a:extLst>
          </p:cNvPr>
          <p:cNvSpPr txBox="1"/>
          <p:nvPr/>
        </p:nvSpPr>
        <p:spPr>
          <a:xfrm>
            <a:off x="10892852" y="6296771"/>
            <a:ext cx="738233" cy="27353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defPPr>
              <a:defRPr lang="en-VN"/>
            </a:defPPr>
            <a:lvl1pPr>
              <a:defRPr sz="600" b="1">
                <a:solidFill>
                  <a:srgbClr val="1C0F46"/>
                </a:solidFill>
                <a:latin typeface="Eina 04 Bold" panose="02000000000000000000" pitchFamily="2" charset="77"/>
              </a:defRPr>
            </a:lvl1pPr>
          </a:lstStyle>
          <a:p>
            <a:pPr lvl="0" algn="r"/>
            <a:fld id="{F1A57C80-F92D-4D61-91C4-F4D173B6125F}" type="slidenum">
              <a:rPr lang="en-GB" sz="1600" b="0" i="0" noProof="0" smtClean="0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GB" sz="1600" b="0" i="0" noProof="0"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C125185F-BA74-CDB0-F737-A9881BADC0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1802" y="6296767"/>
            <a:ext cx="270815" cy="273541"/>
          </a:xfrm>
          <a:prstGeom prst="rect">
            <a:avLst/>
          </a:prstGeom>
        </p:spPr>
      </p:pic>
      <p:sp>
        <p:nvSpPr>
          <p:cNvPr id="4" name="Textfeld 10">
            <a:extLst>
              <a:ext uri="{FF2B5EF4-FFF2-40B4-BE49-F238E27FC236}">
                <a16:creationId xmlns:a16="http://schemas.microsoft.com/office/drawing/2014/main" id="{337D844C-44B3-55B9-0AB6-0888774230E4}"/>
              </a:ext>
            </a:extLst>
          </p:cNvPr>
          <p:cNvSpPr txBox="1"/>
          <p:nvPr userDrawn="1"/>
        </p:nvSpPr>
        <p:spPr>
          <a:xfrm>
            <a:off x="10892852" y="6296771"/>
            <a:ext cx="738233" cy="27353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defPPr>
              <a:defRPr lang="en-VN"/>
            </a:defPPr>
            <a:lvl1pPr>
              <a:defRPr sz="600" b="1">
                <a:solidFill>
                  <a:srgbClr val="1C0F46"/>
                </a:solidFill>
                <a:latin typeface="Eina 04 Bold" panose="02000000000000000000" pitchFamily="2" charset="77"/>
              </a:defRPr>
            </a:lvl1pPr>
          </a:lstStyle>
          <a:p>
            <a:pPr lvl="0" algn="r"/>
            <a:fld id="{F1A57C80-F92D-4D61-91C4-F4D173B6125F}" type="slidenum">
              <a:rPr lang="en-GB" sz="1600" b="0" i="0" noProof="0" smtClean="0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GB" sz="1600" b="0" i="0" noProof="0"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63553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- headline + sub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5F1B7D-B52A-20EF-766E-020175D579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60A42"/>
                </a:solidFill>
              </a:defRPr>
            </a:lvl1pPr>
          </a:lstStyle>
          <a:p>
            <a:r>
              <a:rPr lang="en-GB" noProof="0" err="1"/>
              <a:t>Actiontitle</a:t>
            </a:r>
            <a:r>
              <a:rPr lang="en-GB" noProof="0"/>
              <a:t> Arial 26p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76BEB7C-B531-AB01-5A91-DAE1B1CE70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750521"/>
            <a:ext cx="11303496" cy="335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rgbClr val="160A42"/>
                </a:solidFill>
              </a:defRPr>
            </a:lvl1pPr>
          </a:lstStyle>
          <a:p>
            <a:pPr lvl="0"/>
            <a:r>
              <a:rPr lang="en-GB" noProof="0"/>
              <a:t>Subtitle Arial 20pt</a:t>
            </a:r>
          </a:p>
        </p:txBody>
      </p:sp>
      <p:pic>
        <p:nvPicPr>
          <p:cNvPr id="13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F16D94F8-9937-B79A-CAB8-E362CB787C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2" y="6296767"/>
            <a:ext cx="270815" cy="273541"/>
          </a:xfrm>
          <a:prstGeom prst="rect">
            <a:avLst/>
          </a:prstGeom>
        </p:spPr>
      </p:pic>
      <p:sp>
        <p:nvSpPr>
          <p:cNvPr id="32" name="Textfeld 10">
            <a:extLst>
              <a:ext uri="{FF2B5EF4-FFF2-40B4-BE49-F238E27FC236}">
                <a16:creationId xmlns:a16="http://schemas.microsoft.com/office/drawing/2014/main" id="{C44802AD-E0FB-0A4F-ED03-F5E1A8B35C7E}"/>
              </a:ext>
            </a:extLst>
          </p:cNvPr>
          <p:cNvSpPr txBox="1"/>
          <p:nvPr/>
        </p:nvSpPr>
        <p:spPr>
          <a:xfrm>
            <a:off x="10892852" y="6296771"/>
            <a:ext cx="738233" cy="27353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defPPr>
              <a:defRPr lang="en-VN"/>
            </a:defPPr>
            <a:lvl1pPr>
              <a:defRPr sz="600" b="1">
                <a:solidFill>
                  <a:srgbClr val="1C0F46"/>
                </a:solidFill>
                <a:latin typeface="Eina 04 Bold" panose="02000000000000000000" pitchFamily="2" charset="77"/>
              </a:defRPr>
            </a:lvl1pPr>
          </a:lstStyle>
          <a:p>
            <a:pPr lvl="0" algn="r"/>
            <a:fld id="{F1A57C80-F92D-4D61-91C4-F4D173B6125F}" type="slidenum">
              <a:rPr lang="en-GB" sz="1600" b="0" i="0" noProof="0" smtClean="0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GB" sz="1600" b="0" i="0" noProof="0"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799BE25-3901-F087-0061-A4532A50D4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5779" y="6297085"/>
            <a:ext cx="9866523" cy="2732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+mj-lt"/>
              <a:buNone/>
              <a:defRPr lang="en-GB" sz="1600" noProof="0" dirty="0" smtClean="0">
                <a:solidFill>
                  <a:srgbClr val="E0DFE4"/>
                </a:solidFill>
              </a:defRPr>
            </a:lvl1pPr>
          </a:lstStyle>
          <a:p>
            <a:pPr marL="307192" lvl="0" indent="-307192"/>
            <a:r>
              <a:rPr lang="en-GB" noProof="0"/>
              <a:t>Source: constellr</a:t>
            </a:r>
          </a:p>
        </p:txBody>
      </p:sp>
      <p:sp>
        <p:nvSpPr>
          <p:cNvPr id="40" name="Textplatzhalter 38">
            <a:extLst>
              <a:ext uri="{FF2B5EF4-FFF2-40B4-BE49-F238E27FC236}">
                <a16:creationId xmlns:a16="http://schemas.microsoft.com/office/drawing/2014/main" id="{2BAC6845-4905-3C26-F3DC-605352EEAD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799" y="1769808"/>
            <a:ext cx="11303495" cy="43261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Master Text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3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C9E0DC68-1C95-3798-CE59-864239EF60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1802" y="6296767"/>
            <a:ext cx="270815" cy="273541"/>
          </a:xfrm>
          <a:prstGeom prst="rect">
            <a:avLst/>
          </a:prstGeom>
        </p:spPr>
      </p:pic>
      <p:sp>
        <p:nvSpPr>
          <p:cNvPr id="4" name="Textfeld 10">
            <a:extLst>
              <a:ext uri="{FF2B5EF4-FFF2-40B4-BE49-F238E27FC236}">
                <a16:creationId xmlns:a16="http://schemas.microsoft.com/office/drawing/2014/main" id="{FDBF8C19-80CC-D33E-F4BA-2E7549D2DF8D}"/>
              </a:ext>
            </a:extLst>
          </p:cNvPr>
          <p:cNvSpPr txBox="1"/>
          <p:nvPr userDrawn="1"/>
        </p:nvSpPr>
        <p:spPr>
          <a:xfrm>
            <a:off x="10892852" y="6296771"/>
            <a:ext cx="738233" cy="27353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defPPr>
              <a:defRPr lang="en-VN"/>
            </a:defPPr>
            <a:lvl1pPr>
              <a:defRPr sz="600" b="1">
                <a:solidFill>
                  <a:srgbClr val="1C0F46"/>
                </a:solidFill>
                <a:latin typeface="Eina 04 Bold" panose="02000000000000000000" pitchFamily="2" charset="77"/>
              </a:defRPr>
            </a:lvl1pPr>
          </a:lstStyle>
          <a:p>
            <a:pPr lvl="0" algn="r"/>
            <a:fld id="{F1A57C80-F92D-4D61-91C4-F4D173B6125F}" type="slidenum">
              <a:rPr lang="en-GB" sz="1600" b="0" i="0" noProof="0" smtClean="0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GB" sz="1600" b="0" i="0" noProof="0"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3358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- headline + sub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5F1B7D-B52A-20EF-766E-020175D579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60A42"/>
                </a:solidFill>
              </a:defRPr>
            </a:lvl1pPr>
          </a:lstStyle>
          <a:p>
            <a:r>
              <a:rPr lang="en-GB" noProof="0" err="1"/>
              <a:t>Actiontitle</a:t>
            </a:r>
            <a:r>
              <a:rPr lang="en-GB" noProof="0"/>
              <a:t> Arial 26p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76BEB7C-B531-AB01-5A91-DAE1B1CE70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750521"/>
            <a:ext cx="11303496" cy="335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rgbClr val="160A42"/>
                </a:solidFill>
              </a:defRPr>
            </a:lvl1pPr>
          </a:lstStyle>
          <a:p>
            <a:pPr lvl="0"/>
            <a:r>
              <a:rPr lang="en-GB" noProof="0"/>
              <a:t>Subtitle Arial 20pt</a:t>
            </a:r>
          </a:p>
        </p:txBody>
      </p:sp>
      <p:pic>
        <p:nvPicPr>
          <p:cNvPr id="12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04A9AA66-6365-2A51-9735-07AE686369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2" y="6296767"/>
            <a:ext cx="270815" cy="273541"/>
          </a:xfrm>
          <a:prstGeom prst="rect">
            <a:avLst/>
          </a:prstGeom>
        </p:spPr>
      </p:pic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442F7104-E73A-57C9-7221-FBF833F731B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31799" y="1769808"/>
            <a:ext cx="11303496" cy="4326192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/>
            </a:lvl5pPr>
            <a:lvl6pPr marL="2285943" indent="0">
              <a:buNone/>
              <a:defRPr/>
            </a:lvl6pPr>
          </a:lstStyle>
          <a:p>
            <a:pPr lvl="0"/>
            <a:r>
              <a:rPr lang="en-GB" noProof="0"/>
              <a:t>Master Text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9" name="Textfeld 10">
            <a:extLst>
              <a:ext uri="{FF2B5EF4-FFF2-40B4-BE49-F238E27FC236}">
                <a16:creationId xmlns:a16="http://schemas.microsoft.com/office/drawing/2014/main" id="{19F36DC0-DCF7-F16D-0D25-A1E334D79DC4}"/>
              </a:ext>
            </a:extLst>
          </p:cNvPr>
          <p:cNvSpPr txBox="1"/>
          <p:nvPr/>
        </p:nvSpPr>
        <p:spPr>
          <a:xfrm>
            <a:off x="10892852" y="6296771"/>
            <a:ext cx="738233" cy="27353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defPPr>
              <a:defRPr lang="en-VN"/>
            </a:defPPr>
            <a:lvl1pPr>
              <a:defRPr sz="600" b="1">
                <a:solidFill>
                  <a:srgbClr val="1C0F46"/>
                </a:solidFill>
                <a:latin typeface="Eina 04 Bold" panose="02000000000000000000" pitchFamily="2" charset="77"/>
              </a:defRPr>
            </a:lvl1pPr>
          </a:lstStyle>
          <a:p>
            <a:pPr lvl="0" algn="r"/>
            <a:fld id="{F1A57C80-F92D-4D61-91C4-F4D173B6125F}" type="slidenum">
              <a:rPr lang="en-GB" sz="1600" b="0" i="0" noProof="0" smtClean="0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GB" sz="1600" b="0" i="0" noProof="0"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platzhalter 21">
            <a:extLst>
              <a:ext uri="{FF2B5EF4-FFF2-40B4-BE49-F238E27FC236}">
                <a16:creationId xmlns:a16="http://schemas.microsoft.com/office/drawing/2014/main" id="{94ECD9D0-2866-A225-9460-CB370DACB2C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6403" y="6296756"/>
            <a:ext cx="9866523" cy="2735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GB" sz="1600" dirty="0">
                <a:solidFill>
                  <a:srgbClr val="E0DFE4"/>
                </a:solidFill>
              </a:defRPr>
            </a:lvl1pPr>
          </a:lstStyle>
          <a:p>
            <a:pPr marL="307192" lvl="0" indent="-307192"/>
            <a:r>
              <a:rPr lang="de-DE"/>
              <a:t>Source: constellr</a:t>
            </a:r>
            <a:endParaRPr lang="en-GB"/>
          </a:p>
        </p:txBody>
      </p:sp>
      <p:pic>
        <p:nvPicPr>
          <p:cNvPr id="3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0606C9CB-0865-640D-6139-D4733938F2F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1802" y="6296767"/>
            <a:ext cx="270815" cy="273541"/>
          </a:xfrm>
          <a:prstGeom prst="rect">
            <a:avLst/>
          </a:prstGeom>
        </p:spPr>
      </p:pic>
      <p:sp>
        <p:nvSpPr>
          <p:cNvPr id="4" name="Textfeld 10">
            <a:extLst>
              <a:ext uri="{FF2B5EF4-FFF2-40B4-BE49-F238E27FC236}">
                <a16:creationId xmlns:a16="http://schemas.microsoft.com/office/drawing/2014/main" id="{F3B790B4-C8F4-39B5-8406-547A0F62B9FD}"/>
              </a:ext>
            </a:extLst>
          </p:cNvPr>
          <p:cNvSpPr txBox="1"/>
          <p:nvPr userDrawn="1"/>
        </p:nvSpPr>
        <p:spPr>
          <a:xfrm>
            <a:off x="10892852" y="6296771"/>
            <a:ext cx="738233" cy="27353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defPPr>
              <a:defRPr lang="en-VN"/>
            </a:defPPr>
            <a:lvl1pPr>
              <a:defRPr sz="600" b="1">
                <a:solidFill>
                  <a:srgbClr val="1C0F46"/>
                </a:solidFill>
                <a:latin typeface="Eina 04 Bold" panose="02000000000000000000" pitchFamily="2" charset="77"/>
              </a:defRPr>
            </a:lvl1pPr>
          </a:lstStyle>
          <a:p>
            <a:pPr lvl="0" algn="r"/>
            <a:fld id="{F1A57C80-F92D-4D61-91C4-F4D173B6125F}" type="slidenum">
              <a:rPr lang="en-GB" sz="1600" b="0" i="0" noProof="0" smtClean="0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GB" sz="1600" b="0" i="0" noProof="0"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979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- headline + sublin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5F1B7D-B52A-20EF-766E-020175D579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60A42"/>
                </a:solidFill>
              </a:defRPr>
            </a:lvl1pPr>
          </a:lstStyle>
          <a:p>
            <a:r>
              <a:rPr lang="en-GB" noProof="0" err="1"/>
              <a:t>Actiontitle</a:t>
            </a:r>
            <a:r>
              <a:rPr lang="en-GB" noProof="0"/>
              <a:t> Arial 26p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76BEB7C-B531-AB01-5A91-DAE1B1CE70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750521"/>
            <a:ext cx="11303496" cy="335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rgbClr val="160A42"/>
                </a:solidFill>
              </a:defRPr>
            </a:lvl1pPr>
          </a:lstStyle>
          <a:p>
            <a:pPr lvl="0"/>
            <a:r>
              <a:rPr lang="en-GB" noProof="0"/>
              <a:t>Subtitle Arial 20pt</a:t>
            </a:r>
          </a:p>
        </p:txBody>
      </p:sp>
      <p:sp>
        <p:nvSpPr>
          <p:cNvPr id="4" name="Tabellenplatzhalter 3">
            <a:extLst>
              <a:ext uri="{FF2B5EF4-FFF2-40B4-BE49-F238E27FC236}">
                <a16:creationId xmlns:a16="http://schemas.microsoft.com/office/drawing/2014/main" id="{173A5E7A-CC33-5E76-4160-1BB4BE78E81E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431800" y="1769808"/>
            <a:ext cx="11303496" cy="43261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160A42"/>
                </a:solidFill>
              </a:defRPr>
            </a:lvl1pPr>
          </a:lstStyle>
          <a:p>
            <a:r>
              <a:rPr lang="en-GB" noProof="0"/>
              <a:t>Table, Arial 18pt</a:t>
            </a:r>
          </a:p>
        </p:txBody>
      </p:sp>
      <p:pic>
        <p:nvPicPr>
          <p:cNvPr id="12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04A9AA66-6365-2A51-9735-07AE686369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802" y="6296767"/>
            <a:ext cx="270815" cy="27354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C42BEA80-E80E-67BE-6971-76F80BD7391A}"/>
              </a:ext>
            </a:extLst>
          </p:cNvPr>
          <p:cNvSpPr txBox="1"/>
          <p:nvPr/>
        </p:nvSpPr>
        <p:spPr>
          <a:xfrm>
            <a:off x="10892852" y="6296771"/>
            <a:ext cx="738233" cy="27353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defPPr>
              <a:defRPr lang="en-VN"/>
            </a:defPPr>
            <a:lvl1pPr>
              <a:defRPr sz="600" b="1">
                <a:solidFill>
                  <a:srgbClr val="1C0F46"/>
                </a:solidFill>
                <a:latin typeface="Eina 04 Bold" panose="02000000000000000000" pitchFamily="2" charset="77"/>
              </a:defRPr>
            </a:lvl1pPr>
          </a:lstStyle>
          <a:p>
            <a:pPr lvl="0" algn="r"/>
            <a:fld id="{F1A57C80-F92D-4D61-91C4-F4D173B6125F}" type="slidenum">
              <a:rPr lang="en-GB" sz="1600" b="0" i="0" noProof="0" smtClean="0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GB" sz="1600" b="0" i="0" noProof="0"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platzhalter 21">
            <a:extLst>
              <a:ext uri="{FF2B5EF4-FFF2-40B4-BE49-F238E27FC236}">
                <a16:creationId xmlns:a16="http://schemas.microsoft.com/office/drawing/2014/main" id="{CB2047D3-DD37-7137-8DEE-9CB403957B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6403" y="6296756"/>
            <a:ext cx="9866523" cy="2735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GB" sz="1600" dirty="0">
                <a:solidFill>
                  <a:srgbClr val="E0DFE4"/>
                </a:solidFill>
              </a:defRPr>
            </a:lvl1pPr>
          </a:lstStyle>
          <a:p>
            <a:pPr marL="307192" lvl="0" indent="-307192"/>
            <a:r>
              <a:rPr lang="de-DE"/>
              <a:t>Source: constellr</a:t>
            </a:r>
            <a:endParaRPr lang="en-GB"/>
          </a:p>
        </p:txBody>
      </p:sp>
      <p:pic>
        <p:nvPicPr>
          <p:cNvPr id="3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1D1F1E3D-EAE1-5373-0AC6-D1FAB7A33F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2" y="6296767"/>
            <a:ext cx="270815" cy="273541"/>
          </a:xfrm>
          <a:prstGeom prst="rect">
            <a:avLst/>
          </a:prstGeom>
        </p:spPr>
      </p:pic>
      <p:sp>
        <p:nvSpPr>
          <p:cNvPr id="5" name="Textfeld 10">
            <a:extLst>
              <a:ext uri="{FF2B5EF4-FFF2-40B4-BE49-F238E27FC236}">
                <a16:creationId xmlns:a16="http://schemas.microsoft.com/office/drawing/2014/main" id="{D36E6FE3-174E-7EB0-C208-8C75CFDA0601}"/>
              </a:ext>
            </a:extLst>
          </p:cNvPr>
          <p:cNvSpPr txBox="1"/>
          <p:nvPr userDrawn="1"/>
        </p:nvSpPr>
        <p:spPr>
          <a:xfrm>
            <a:off x="10892852" y="6296771"/>
            <a:ext cx="738233" cy="27353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defPPr>
              <a:defRPr lang="en-VN"/>
            </a:defPPr>
            <a:lvl1pPr>
              <a:defRPr sz="600" b="1">
                <a:solidFill>
                  <a:srgbClr val="1C0F46"/>
                </a:solidFill>
                <a:latin typeface="Eina 04 Bold" panose="02000000000000000000" pitchFamily="2" charset="77"/>
              </a:defRPr>
            </a:lvl1pPr>
          </a:lstStyle>
          <a:p>
            <a:pPr lvl="0" algn="r"/>
            <a:fld id="{F1A57C80-F92D-4D61-91C4-F4D173B6125F}" type="slidenum">
              <a:rPr lang="en-GB" sz="1600" b="0" i="0" noProof="0" smtClean="0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GB" sz="1600" b="0" i="0" noProof="0"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042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10">
            <a:extLst>
              <a:ext uri="{FF2B5EF4-FFF2-40B4-BE49-F238E27FC236}">
                <a16:creationId xmlns:a16="http://schemas.microsoft.com/office/drawing/2014/main" id="{C90F1EBD-CA87-A3FF-EA8B-4E9DB5F19001}"/>
              </a:ext>
            </a:extLst>
          </p:cNvPr>
          <p:cNvSpPr txBox="1"/>
          <p:nvPr/>
        </p:nvSpPr>
        <p:spPr>
          <a:xfrm>
            <a:off x="10892852" y="6296771"/>
            <a:ext cx="738233" cy="27353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defPPr>
              <a:defRPr lang="en-VN"/>
            </a:defPPr>
            <a:lvl1pPr>
              <a:defRPr sz="600" b="1">
                <a:solidFill>
                  <a:srgbClr val="1C0F46"/>
                </a:solidFill>
                <a:latin typeface="Eina 04 Bold" panose="02000000000000000000" pitchFamily="2" charset="77"/>
              </a:defRPr>
            </a:lvl1pPr>
          </a:lstStyle>
          <a:p>
            <a:pPr lvl="0" algn="r"/>
            <a:fld id="{F1A57C80-F92D-4D61-91C4-F4D173B6125F}" type="slidenum">
              <a:rPr lang="en-GB" sz="1600" b="0" i="0" noProof="0" smtClean="0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GB" sz="1600" b="0" i="0" noProof="0"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F98DCA64-0243-1456-7588-585E8CC214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6403" y="6296756"/>
            <a:ext cx="9866523" cy="2735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GB" sz="1600" dirty="0">
                <a:solidFill>
                  <a:srgbClr val="E0DFE4"/>
                </a:solidFill>
              </a:defRPr>
            </a:lvl1pPr>
          </a:lstStyle>
          <a:p>
            <a:pPr marL="307192" lvl="0" indent="-307192"/>
            <a:r>
              <a:rPr lang="de-DE"/>
              <a:t>Source: constellr</a:t>
            </a:r>
            <a:endParaRPr lang="en-GB"/>
          </a:p>
        </p:txBody>
      </p:sp>
      <p:pic>
        <p:nvPicPr>
          <p:cNvPr id="9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20B904B4-2E83-31A5-B4D5-94514F7D54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802" y="6296767"/>
            <a:ext cx="270815" cy="273541"/>
          </a:xfrm>
          <a:prstGeom prst="rect">
            <a:avLst/>
          </a:prstGeom>
        </p:spPr>
      </p:pic>
      <p:sp>
        <p:nvSpPr>
          <p:cNvPr id="2" name="Textfeld 10">
            <a:extLst>
              <a:ext uri="{FF2B5EF4-FFF2-40B4-BE49-F238E27FC236}">
                <a16:creationId xmlns:a16="http://schemas.microsoft.com/office/drawing/2014/main" id="{4A542F43-6999-7228-F0A6-84C1FBE151CD}"/>
              </a:ext>
            </a:extLst>
          </p:cNvPr>
          <p:cNvSpPr txBox="1"/>
          <p:nvPr userDrawn="1"/>
        </p:nvSpPr>
        <p:spPr>
          <a:xfrm>
            <a:off x="10892852" y="6296771"/>
            <a:ext cx="738233" cy="27353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defPPr>
              <a:defRPr lang="en-VN"/>
            </a:defPPr>
            <a:lvl1pPr>
              <a:defRPr sz="600" b="1">
                <a:solidFill>
                  <a:srgbClr val="1C0F46"/>
                </a:solidFill>
                <a:latin typeface="Eina 04 Bold" panose="02000000000000000000" pitchFamily="2" charset="77"/>
              </a:defRPr>
            </a:lvl1pPr>
          </a:lstStyle>
          <a:p>
            <a:pPr lvl="0" algn="r"/>
            <a:fld id="{F1A57C80-F92D-4D61-91C4-F4D173B6125F}" type="slidenum">
              <a:rPr lang="en-GB" sz="1600" b="0" i="0" noProof="0" smtClean="0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GB" sz="1600" b="0" i="0" noProof="0"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3" descr="Sunburst chart&#10;&#10;Description automatically generated with medium confidence">
            <a:extLst>
              <a:ext uri="{FF2B5EF4-FFF2-40B4-BE49-F238E27FC236}">
                <a16:creationId xmlns:a16="http://schemas.microsoft.com/office/drawing/2014/main" id="{9EBFAFE2-7618-2F7D-4AFD-F405B79D81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2" y="6296767"/>
            <a:ext cx="270815" cy="27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153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platzhalter 2">
            <a:extLst>
              <a:ext uri="{FF2B5EF4-FFF2-40B4-BE49-F238E27FC236}">
                <a16:creationId xmlns:a16="http://schemas.microsoft.com/office/drawing/2014/main" id="{D96F714A-F24D-1746-0A5C-E5FC9F980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42521"/>
            <a:ext cx="11303496" cy="4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noProof="0"/>
              <a:t>English Versio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9AC7E9-6DE3-D571-9C63-18EA11D49B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6684"/>
            <a:ext cx="10515600" cy="434974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Sixth level</a:t>
            </a:r>
          </a:p>
          <a:p>
            <a:pPr lvl="6"/>
            <a:r>
              <a:rPr lang="en-GB" noProof="0"/>
              <a:t>Seventh level</a:t>
            </a:r>
          </a:p>
          <a:p>
            <a:pPr lvl="7"/>
            <a:r>
              <a:rPr lang="en-GB" noProof="0"/>
              <a:t>Ninth level</a:t>
            </a:r>
          </a:p>
          <a:p>
            <a:pPr lvl="8"/>
            <a:r>
              <a:rPr lang="en-GB" noProof="0"/>
              <a:t>Tenth level</a:t>
            </a:r>
          </a:p>
        </p:txBody>
      </p:sp>
    </p:spTree>
    <p:extLst>
      <p:ext uri="{BB962C8B-B14F-4D97-AF65-F5344CB8AC3E}">
        <p14:creationId xmlns:p14="http://schemas.microsoft.com/office/powerpoint/2010/main" val="915293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53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42" r:id="rId10"/>
    <p:sldLayoutId id="2147483726" r:id="rId11"/>
    <p:sldLayoutId id="2147483727" r:id="rId12"/>
    <p:sldLayoutId id="2147483744" r:id="rId13"/>
    <p:sldLayoutId id="2147483749" r:id="rId14"/>
    <p:sldLayoutId id="2147483754" r:id="rId15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rgbClr val="160A4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07192" indent="-307192" algn="l" defTabSz="914377" rtl="0" eaLnBrk="1" latinLnBrk="0" hangingPunct="1">
        <a:lnSpc>
          <a:spcPct val="100000"/>
        </a:lnSpc>
        <a:spcBef>
          <a:spcPts val="1000"/>
        </a:spcBef>
        <a:buFont typeface="+mj-lt"/>
        <a:buAutoNum type="arabicPeriod"/>
        <a:defRPr lang="de-DE" sz="1800" kern="1200" dirty="0" smtClean="0">
          <a:solidFill>
            <a:srgbClr val="160A4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29984" indent="-307192" algn="l" defTabSz="914377" rtl="0" eaLnBrk="1" latinLnBrk="0" hangingPunct="1">
        <a:lnSpc>
          <a:spcPct val="100000"/>
        </a:lnSpc>
        <a:spcBef>
          <a:spcPts val="500"/>
        </a:spcBef>
        <a:buFont typeface="+mj-lt"/>
        <a:buAutoNum type="alphaLcPeriod"/>
        <a:tabLst/>
        <a:defRPr lang="de-DE" sz="1800" kern="1200" dirty="0" smtClean="0">
          <a:solidFill>
            <a:srgbClr val="160A4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65976" indent="-307192" algn="l" defTabSz="914377" rtl="0" eaLnBrk="1" latinLnBrk="0" hangingPunct="1">
        <a:lnSpc>
          <a:spcPct val="100000"/>
        </a:lnSpc>
        <a:spcBef>
          <a:spcPts val="500"/>
        </a:spcBef>
        <a:buFont typeface="+mj-lt"/>
        <a:buAutoNum type="romanLcPeriod"/>
        <a:tabLst/>
        <a:defRPr lang="de-DE" sz="1800" kern="1200" dirty="0" smtClean="0">
          <a:solidFill>
            <a:srgbClr val="160A4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48766" indent="-307192" algn="l" defTabSz="914377" rtl="0" eaLnBrk="1" latinLnBrk="0" hangingPunct="1">
        <a:lnSpc>
          <a:spcPct val="100000"/>
        </a:lnSpc>
        <a:spcBef>
          <a:spcPts val="500"/>
        </a:spcBef>
        <a:buFont typeface="Symbol" pitchFamily="2" charset="2"/>
        <a:buChar char="-"/>
        <a:defRPr lang="de-DE" sz="1800" kern="1200" dirty="0" smtClean="0">
          <a:solidFill>
            <a:srgbClr val="160A4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684758" indent="-307192" algn="l" defTabSz="914377" rtl="0" eaLnBrk="1" latinLnBrk="0" hangingPunct="1">
        <a:lnSpc>
          <a:spcPct val="100000"/>
        </a:lnSpc>
        <a:spcBef>
          <a:spcPts val="500"/>
        </a:spcBef>
        <a:buFont typeface="Symbol" pitchFamily="2" charset="2"/>
        <a:buChar char="-"/>
        <a:defRPr lang="en-GB" sz="1800" kern="1200" dirty="0" smtClean="0">
          <a:solidFill>
            <a:srgbClr val="160A4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20749" indent="-307192" algn="l" defTabSz="914377" rtl="0" eaLnBrk="1" latinLnBrk="0" hangingPunct="1">
        <a:lnSpc>
          <a:spcPct val="100000"/>
        </a:lnSpc>
        <a:spcBef>
          <a:spcPts val="500"/>
        </a:spcBef>
        <a:buFont typeface="Symbol" pitchFamily="2" charset="2"/>
        <a:buChar char="-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356741" indent="-307192" algn="l" defTabSz="914377" rtl="0" eaLnBrk="1" latinLnBrk="0" hangingPunct="1">
        <a:lnSpc>
          <a:spcPct val="100000"/>
        </a:lnSpc>
        <a:spcBef>
          <a:spcPts val="500"/>
        </a:spcBef>
        <a:buFont typeface="Symbol" pitchFamily="2" charset="2"/>
        <a:buChar char="-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2692733" indent="-307192" algn="l" defTabSz="914377" rtl="0" eaLnBrk="1" latinLnBrk="0" hangingPunct="1">
        <a:lnSpc>
          <a:spcPct val="100000"/>
        </a:lnSpc>
        <a:spcBef>
          <a:spcPts val="500"/>
        </a:spcBef>
        <a:buFont typeface="Symbol" pitchFamily="2" charset="2"/>
        <a:buChar char="-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3028724" indent="-307192" algn="l" defTabSz="914377" rtl="0" eaLnBrk="1" latinLnBrk="0" hangingPunct="1">
        <a:lnSpc>
          <a:spcPct val="100000"/>
        </a:lnSpc>
        <a:spcBef>
          <a:spcPts val="500"/>
        </a:spcBef>
        <a:buFont typeface="Symbol" pitchFamily="2" charset="2"/>
        <a:buChar char="-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VN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B33ED9E-69D1-643E-9C96-BBD8D05C86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34968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3" imgH="423" progId="TCLayout.ActiveDocument.1">
                  <p:embed/>
                </p:oleObj>
              </mc:Choice>
              <mc:Fallback>
                <p:oleObj name="think-cell Slide" r:id="rId8" imgW="423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B33ED9E-69D1-643E-9C96-BBD8D05C86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6613587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50" r:id="rId3"/>
    <p:sldLayoutId id="2147483751" r:id="rId4"/>
    <p:sldLayoutId id="2147483752" r:id="rId5"/>
  </p:sldLayoutIdLst>
  <p:hf sldNum="0"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Eina 04 Regular" panose="02000000000000000000" pitchFamily="50" charset="0"/>
          <a:ea typeface="Eina 04 Regular" panose="02000000000000000000" pitchFamily="50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Eina 04 Regular" panose="02000000000000000000" pitchFamily="50" charset="0"/>
          <a:ea typeface="Eina 04 Regular" panose="02000000000000000000" pitchFamily="50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6.png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7" Type="http://schemas.openxmlformats.org/officeDocument/2006/relationships/image" Target="../media/image71.svg"/><Relationship Id="rId2" Type="http://schemas.microsoft.com/office/2018/10/relationships/comments" Target="../comments/modernComment_7FFFD7F9_75C10BFA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9.png"/><Relationship Id="rId5" Type="http://schemas.openxmlformats.org/officeDocument/2006/relationships/image" Target="../media/image67.png"/><Relationship Id="rId4" Type="http://schemas.openxmlformats.org/officeDocument/2006/relationships/image" Target="../media/image6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0.w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jpeg"/><Relationship Id="rId7" Type="http://schemas.openxmlformats.org/officeDocument/2006/relationships/image" Target="../media/image2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emf"/><Relationship Id="rId5" Type="http://schemas.openxmlformats.org/officeDocument/2006/relationships/image" Target="../media/image23.svg"/><Relationship Id="rId4" Type="http://schemas.openxmlformats.org/officeDocument/2006/relationships/image" Target="../media/image22.png"/><Relationship Id="rId9" Type="http://schemas.openxmlformats.org/officeDocument/2006/relationships/image" Target="../media/image2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svg"/><Relationship Id="rId4" Type="http://schemas.openxmlformats.org/officeDocument/2006/relationships/image" Target="../media/image35.jpeg"/><Relationship Id="rId9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4.jpe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6" Type="http://schemas.microsoft.com/office/2007/relationships/hdphoto" Target="../media/hdphoto1.wdp"/><Relationship Id="rId11" Type="http://schemas.openxmlformats.org/officeDocument/2006/relationships/image" Target="../media/image51.png"/><Relationship Id="rId5" Type="http://schemas.openxmlformats.org/officeDocument/2006/relationships/image" Target="../media/image46.png"/><Relationship Id="rId10" Type="http://schemas.openxmlformats.org/officeDocument/2006/relationships/image" Target="../media/image50.png"/><Relationship Id="rId4" Type="http://schemas.openxmlformats.org/officeDocument/2006/relationships/image" Target="../media/image45.png"/><Relationship Id="rId9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3.png"/><Relationship Id="rId7" Type="http://schemas.openxmlformats.org/officeDocument/2006/relationships/image" Target="../media/image5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png"/><Relationship Id="rId5" Type="http://schemas.openxmlformats.org/officeDocument/2006/relationships/image" Target="../media/image55.jpeg"/><Relationship Id="rId4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7FFEA6A9-32D0-1344-897E-8998E7BE75C3}"/>
              </a:ext>
            </a:extLst>
          </p:cNvPr>
          <p:cNvSpPr/>
          <p:nvPr/>
        </p:nvSpPr>
        <p:spPr>
          <a:xfrm>
            <a:off x="0" y="-1"/>
            <a:ext cx="5671400" cy="6858001"/>
          </a:xfrm>
          <a:prstGeom prst="rect">
            <a:avLst/>
          </a:prstGeom>
          <a:solidFill>
            <a:srgbClr val="1C0E46"/>
          </a:solidFill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e-DE" sz="1800">
              <a:ln>
                <a:solidFill>
                  <a:srgbClr val="000000"/>
                </a:solidFill>
              </a:ln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89F9C14-460E-C945-814F-8BD5A48D64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500" t="12808" b="7790"/>
          <a:stretch/>
        </p:blipFill>
        <p:spPr>
          <a:xfrm>
            <a:off x="5664143" y="-1"/>
            <a:ext cx="6520600" cy="6858001"/>
          </a:xfrm>
          <a:prstGeom prst="rect">
            <a:avLst/>
          </a:prstGeom>
        </p:spPr>
      </p:pic>
      <p:sp>
        <p:nvSpPr>
          <p:cNvPr id="11" name="Google Shape;35;p1">
            <a:extLst>
              <a:ext uri="{FF2B5EF4-FFF2-40B4-BE49-F238E27FC236}">
                <a16:creationId xmlns:a16="http://schemas.microsoft.com/office/drawing/2014/main" id="{95B60D26-029F-6047-8DC7-AA93F4FDA1B4}"/>
              </a:ext>
            </a:extLst>
          </p:cNvPr>
          <p:cNvSpPr txBox="1"/>
          <p:nvPr/>
        </p:nvSpPr>
        <p:spPr>
          <a:xfrm>
            <a:off x="885496" y="2829766"/>
            <a:ext cx="10753510" cy="870711"/>
          </a:xfrm>
          <a:prstGeom prst="rect">
            <a:avLst/>
          </a:prstGeom>
          <a:solidFill>
            <a:srgbClr val="1C0E46">
              <a:alpha val="63922"/>
            </a:srgbClr>
          </a:solidFill>
          <a:ln>
            <a:noFill/>
          </a:ln>
        </p:spPr>
        <p:txBody>
          <a:bodyPr spcFirstLastPara="1" wrap="square" lIns="0" tIns="8850" rIns="0" bIns="0" anchor="t" anchorCtr="0">
            <a:spAutoFit/>
          </a:bodyPr>
          <a:lstStyle/>
          <a:p>
            <a:pPr marL="7701" lvl="0"/>
            <a:r>
              <a:rPr lang="en-US" sz="2800" b="1">
                <a:solidFill>
                  <a:srgbClr val="FFFFFF"/>
                </a:solidFill>
                <a:latin typeface="+mj-lt"/>
              </a:rPr>
              <a:t>HiVE, a land surface temperature </a:t>
            </a:r>
            <a:endParaRPr lang="en-BE" sz="2800" b="1">
              <a:solidFill>
                <a:srgbClr val="FFFFFF"/>
              </a:solidFill>
              <a:latin typeface="+mj-lt"/>
            </a:endParaRPr>
          </a:p>
          <a:p>
            <a:pPr marL="7701" lvl="0"/>
            <a:r>
              <a:rPr lang="en-US" sz="2800" b="1">
                <a:solidFill>
                  <a:srgbClr val="FFFFFF"/>
                </a:solidFill>
                <a:latin typeface="+mj-lt"/>
              </a:rPr>
              <a:t>monitoring mission for better resource accountability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D46CB155-281D-694F-9E77-1A414E3FEB6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30963" y="684213"/>
            <a:ext cx="5761037" cy="242887"/>
          </a:xfrm>
        </p:spPr>
        <p:txBody>
          <a:bodyPr>
            <a:normAutofit fontScale="62500" lnSpcReduction="20000"/>
          </a:bodyPr>
          <a:lstStyle/>
          <a:p>
            <a:r>
              <a:rPr lang="de-DE"/>
              <a:t>Max Gulde | max.gulde@constellr.com</a:t>
            </a:r>
          </a:p>
          <a:p>
            <a:endParaRPr lang="de-DE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3E93186C-6B93-BE49-8064-3C9CB4346CA4}"/>
              </a:ext>
            </a:extLst>
          </p:cNvPr>
          <p:cNvSpPr txBox="1">
            <a:spLocks/>
          </p:cNvSpPr>
          <p:nvPr/>
        </p:nvSpPr>
        <p:spPr>
          <a:xfrm>
            <a:off x="671171" y="5778474"/>
            <a:ext cx="3716337" cy="2420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+mj-lt"/>
              <a:buNone/>
              <a:defRPr lang="de-DE"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29984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lphaLcPeriod"/>
              <a:tabLst/>
              <a:defRPr lang="de-DE" sz="1333" kern="1200">
                <a:solidFill>
                  <a:srgbClr val="160A4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65976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romanLcPeriod"/>
              <a:tabLst/>
              <a:defRPr lang="de-DE" sz="1333" kern="1200">
                <a:solidFill>
                  <a:srgbClr val="160A4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48766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lang="de-DE" sz="1333" kern="1200">
                <a:solidFill>
                  <a:srgbClr val="160A4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684758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lang="en-GB" sz="1333" kern="1200">
                <a:solidFill>
                  <a:srgbClr val="160A4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20749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356741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2692733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028724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l"/>
            <a:endParaRPr lang="en-GB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CF29FD43-6305-CFEC-5DA7-3E74D09B0A12}"/>
              </a:ext>
            </a:extLst>
          </p:cNvPr>
          <p:cNvSpPr txBox="1">
            <a:spLocks/>
          </p:cNvSpPr>
          <p:nvPr/>
        </p:nvSpPr>
        <p:spPr>
          <a:xfrm>
            <a:off x="911204" y="5607343"/>
            <a:ext cx="6952605" cy="31558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+mj-lt"/>
              <a:buNone/>
              <a:defRPr lang="de-DE"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None/>
              <a:tabLst/>
              <a:defRPr lang="de-DE" sz="2000" kern="1200">
                <a:solidFill>
                  <a:schemeClr val="bg1"/>
                </a:solidFill>
                <a:latin typeface="☞EINA04-REGULAR" panose="02000000000000000000" pitchFamily="2" charset="77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None/>
              <a:tabLst/>
              <a:defRPr lang="de-DE" sz="2000" kern="1200">
                <a:solidFill>
                  <a:schemeClr val="bg1"/>
                </a:solidFill>
                <a:latin typeface="☞EINA04-REGULAR" panose="02000000000000000000" pitchFamily="2" charset="77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None/>
              <a:defRPr lang="de-DE" sz="2000" kern="1200">
                <a:solidFill>
                  <a:schemeClr val="bg1"/>
                </a:solidFill>
                <a:latin typeface="☞EINA04-REGULAR" panose="02000000000000000000" pitchFamily="2" charset="77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None/>
              <a:defRPr lang="en-GB" sz="2000" kern="1200">
                <a:solidFill>
                  <a:schemeClr val="bg1"/>
                </a:solidFill>
                <a:latin typeface="☞EINA04-REGULAR" panose="02000000000000000000" pitchFamily="2" charset="77"/>
                <a:ea typeface="+mn-ea"/>
                <a:cs typeface="Arial" panose="020B0604020202020204" pitchFamily="34" charset="0"/>
              </a:defRPr>
            </a:lvl5pPr>
            <a:lvl6pPr marL="2020749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356741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2692733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028724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ST_cci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workshop | 0</a:t>
            </a:r>
            <a:r>
              <a:rPr lang="en-US">
                <a:solidFill>
                  <a:srgbClr val="FFFFFF"/>
                </a:solidFill>
              </a:rPr>
              <a:t>5-06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1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202</a:t>
            </a:r>
            <a:r>
              <a:rPr kumimoji="0" lang="en-B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platzhalter 1">
            <a:extLst>
              <a:ext uri="{FF2B5EF4-FFF2-40B4-BE49-F238E27FC236}">
                <a16:creationId xmlns:a16="http://schemas.microsoft.com/office/drawing/2014/main" id="{13C80A3E-0EEA-511A-8B0A-7631CE8B8492}"/>
              </a:ext>
            </a:extLst>
          </p:cNvPr>
          <p:cNvSpPr txBox="1">
            <a:spLocks/>
          </p:cNvSpPr>
          <p:nvPr/>
        </p:nvSpPr>
        <p:spPr>
          <a:xfrm>
            <a:off x="911205" y="4416818"/>
            <a:ext cx="7161641" cy="650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+mj-lt"/>
              <a:buNone/>
              <a:defRPr lang="de-DE" sz="2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None/>
              <a:tabLst/>
              <a:defRPr lang="de-DE" sz="2000" kern="1200">
                <a:solidFill>
                  <a:schemeClr val="bg1"/>
                </a:solidFill>
                <a:latin typeface="☞EINA04-REGULAR" panose="02000000000000000000" pitchFamily="2" charset="77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None/>
              <a:tabLst/>
              <a:defRPr lang="de-DE" sz="2000" kern="1200">
                <a:solidFill>
                  <a:schemeClr val="bg1"/>
                </a:solidFill>
                <a:latin typeface="☞EINA04-REGULAR" panose="02000000000000000000" pitchFamily="2" charset="77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None/>
              <a:defRPr lang="de-DE" sz="2000" kern="1200">
                <a:solidFill>
                  <a:schemeClr val="bg1"/>
                </a:solidFill>
                <a:latin typeface="☞EINA04-REGULAR" panose="02000000000000000000" pitchFamily="2" charset="77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None/>
              <a:defRPr lang="en-GB" sz="2000" kern="1200">
                <a:solidFill>
                  <a:schemeClr val="bg1"/>
                </a:solidFill>
                <a:latin typeface="☞EINA04-REGULAR" panose="02000000000000000000" pitchFamily="2" charset="77"/>
                <a:ea typeface="+mn-ea"/>
                <a:cs typeface="Arial" panose="020B0604020202020204" pitchFamily="34" charset="0"/>
              </a:defRPr>
            </a:lvl5pPr>
            <a:lvl6pPr marL="2020749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356741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2692733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028724" indent="-307192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Symbol" pitchFamily="2" charset="2"/>
              <a:buChar char="-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0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hristophe Lerot, Andreas Brunn, Alexandre Delahaye, </a:t>
            </a:r>
            <a:r>
              <a:rPr lang="en-GB" sz="20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lis Freedman, Imaduddin  Humayun, </a:t>
            </a:r>
            <a:r>
              <a:rPr lang="en-US" sz="20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hristian Köppl</a:t>
            </a:r>
            <a:r>
              <a:rPr lang="en-BE" sz="2000" kern="10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</a:t>
            </a:r>
            <a:r>
              <a:rPr lang="en-US" sz="20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aniel Spengler, Tianran Zhang</a:t>
            </a:r>
            <a:endParaRPr lang="en-BE" sz="20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93492FBA-74BD-87B4-7144-8F503995E5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5495" y="1228828"/>
            <a:ext cx="3900409" cy="1144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3156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36001F-4F3A-F54C-155C-36380D97AF8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1800" y="342521"/>
            <a:ext cx="11303496" cy="408000"/>
          </a:xfrm>
        </p:spPr>
        <p:txBody>
          <a:bodyPr/>
          <a:lstStyle/>
          <a:p>
            <a:r>
              <a:rPr lang="en-US">
                <a:solidFill>
                  <a:srgbClr val="1C0E46"/>
                </a:solidFill>
              </a:rPr>
              <a:t>TIR Radiometric Calibration </a:t>
            </a:r>
            <a:endParaRPr lang="en-BE">
              <a:solidFill>
                <a:srgbClr val="1C0E46"/>
              </a:solidFill>
            </a:endParaRP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E9847777-30AD-7F6B-A960-8F04088986E6}"/>
              </a:ext>
            </a:extLst>
          </p:cNvPr>
          <p:cNvSpPr txBox="1">
            <a:spLocks/>
          </p:cNvSpPr>
          <p:nvPr/>
        </p:nvSpPr>
        <p:spPr>
          <a:xfrm>
            <a:off x="536277" y="977292"/>
            <a:ext cx="5516098" cy="5199227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5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Eina04-SemiBold"/>
                <a:ea typeface="+mn-ea"/>
                <a:cs typeface="+mn-cs"/>
              </a:rPr>
              <a:t>Objective</a:t>
            </a:r>
          </a:p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9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/>
                <a:cs typeface="Arial"/>
              </a:rPr>
              <a:t>Radiometrically calibrate a thermal sensor without the use of an onboard blackbody source</a:t>
            </a:r>
            <a:endParaRPr lang="en-GB" sz="2900" b="0" i="0" u="none" strike="noStrike" kern="1200" cap="none" spc="0" normalizeH="0" baseline="0" noProof="0">
              <a:ln>
                <a:noFill/>
              </a:ln>
              <a:solidFill>
                <a:srgbClr val="1C0F46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500" b="1" i="0" u="none" strike="noStrike" kern="1200" cap="none" spc="0" normalizeH="0" baseline="0" noProof="0">
              <a:ln>
                <a:noFill/>
              </a:ln>
              <a:solidFill>
                <a:srgbClr val="1C0F46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/>
                <a:cs typeface="Arial"/>
              </a:rPr>
              <a:t>Cross-calibration Procedure</a:t>
            </a:r>
            <a:endParaRPr lang="en-GB" sz="3200" b="1" i="0" u="none" strike="noStrike" kern="1200" cap="none" spc="0" normalizeH="0" baseline="0" noProof="0">
              <a:ln>
                <a:noFill/>
              </a:ln>
              <a:solidFill>
                <a:srgbClr val="1C0F46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900">
                <a:solidFill>
                  <a:srgbClr val="1C0F46"/>
                </a:solidFill>
                <a:latin typeface="Arial"/>
                <a:cs typeface="Arial"/>
              </a:rPr>
              <a:t>Simultaneously</a:t>
            </a:r>
            <a:r>
              <a:rPr kumimoji="0" lang="en-GB" sz="29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/>
                <a:cs typeface="Arial"/>
              </a:rPr>
              <a:t>, collect imagery of uniform area with </a:t>
            </a:r>
            <a:r>
              <a:rPr kumimoji="0" lang="en-GB" sz="2900" b="0" i="0" u="none" strike="noStrike" kern="1200" cap="none" spc="0" normalizeH="0" baseline="0" noProof="0" err="1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/>
                <a:cs typeface="Arial"/>
              </a:rPr>
              <a:t>HiVE</a:t>
            </a:r>
            <a:r>
              <a:rPr kumimoji="0" lang="en-GB" sz="29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/>
                <a:cs typeface="Arial"/>
              </a:rPr>
              <a:t> and Geostationary high revisit sensors (e.g. SEVIRI) + sun synchronous sensors (Landsat , S3)</a:t>
            </a:r>
            <a:endParaRPr lang="en-GB" sz="2900" b="0" i="0" u="none" strike="noStrike" kern="1200" cap="none" spc="0" normalizeH="0" baseline="0" noProof="0">
              <a:ln>
                <a:noFill/>
              </a:ln>
              <a:solidFill>
                <a:srgbClr val="1C0F46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9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/>
                <a:cs typeface="Arial"/>
              </a:rPr>
              <a:t>Use low resolution ground temperature as ground truth for </a:t>
            </a:r>
            <a:r>
              <a:rPr kumimoji="0" lang="en-GB" sz="2900" b="0" i="0" u="none" strike="noStrike" kern="1200" cap="none" spc="0" normalizeH="0" baseline="0" noProof="0" err="1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/>
                <a:cs typeface="Arial"/>
              </a:rPr>
              <a:t>HiVE</a:t>
            </a:r>
            <a:endParaRPr lang="en-GB" sz="2900" b="0" i="0" u="none" strike="noStrike" kern="1200" cap="none" spc="0" normalizeH="0" baseline="0" noProof="0" err="1">
              <a:ln>
                <a:noFill/>
              </a:ln>
              <a:solidFill>
                <a:srgbClr val="1C0F46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9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/>
                <a:cs typeface="Arial"/>
              </a:rPr>
              <a:t>Use on-board VNIR data (aerosol and water vapor bands) with external atmospheric profile</a:t>
            </a:r>
            <a:endParaRPr lang="en-GB" sz="2900" b="0" i="0" u="none" strike="noStrike" kern="1200" cap="none" spc="0" normalizeH="0" baseline="0" noProof="0">
              <a:ln>
                <a:noFill/>
              </a:ln>
              <a:solidFill>
                <a:srgbClr val="1C0F46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500">
              <a:solidFill>
                <a:srgbClr val="1C0F46"/>
              </a:solidFill>
              <a:latin typeface="Arial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GB" sz="3300" b="1">
                <a:solidFill>
                  <a:srgbClr val="1C0F46"/>
                </a:solidFill>
                <a:latin typeface="Arial"/>
                <a:cs typeface="Arial"/>
              </a:rPr>
              <a:t>Vicarious Calibr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900">
                <a:solidFill>
                  <a:srgbClr val="1C0F46"/>
                </a:solidFill>
                <a:latin typeface="Arial"/>
                <a:cs typeface="Arial"/>
              </a:rPr>
              <a:t>Future TIRCALNET sit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900">
                <a:solidFill>
                  <a:srgbClr val="1C0F46"/>
                </a:solidFill>
                <a:latin typeface="Arial"/>
                <a:cs typeface="Arial"/>
              </a:rPr>
              <a:t>Building own calibration site based on drone measurements in collaboration with Fraunhofer IPM</a:t>
            </a:r>
            <a:endParaRPr lang="en-DE" sz="2900">
              <a:solidFill>
                <a:srgbClr val="1C0F46"/>
              </a:solidFill>
              <a:latin typeface="Arial"/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414519-DD2F-27EC-19C4-FA9E1128DC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496" y="852646"/>
            <a:ext cx="5815050" cy="5108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2302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9EB6E0-74DA-88AE-A544-B7DEFADEF2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410FD0-AB03-D70A-E405-5FB7C1730D9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1800" y="342521"/>
            <a:ext cx="11303496" cy="408000"/>
          </a:xfrm>
        </p:spPr>
        <p:txBody>
          <a:bodyPr/>
          <a:lstStyle/>
          <a:p>
            <a:r>
              <a:rPr lang="en-US">
                <a:solidFill>
                  <a:srgbClr val="1C0E46"/>
                </a:solidFill>
              </a:rPr>
              <a:t>constellr LST algorithm performance</a:t>
            </a:r>
            <a:endParaRPr lang="en-BE">
              <a:solidFill>
                <a:srgbClr val="1C0E46"/>
              </a:solidFill>
            </a:endParaRPr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01A45C6B-4131-AA79-1073-5D15726AA7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5745" y="1899837"/>
            <a:ext cx="5468112" cy="2624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9625DC7-290B-3AA9-E303-314206597CFD}"/>
              </a:ext>
            </a:extLst>
          </p:cNvPr>
          <p:cNvSpPr txBox="1"/>
          <p:nvPr/>
        </p:nvSpPr>
        <p:spPr>
          <a:xfrm>
            <a:off x="431800" y="4481393"/>
            <a:ext cx="54681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2">
                    <a:lumMod val="25000"/>
                  </a:schemeClr>
                </a:solidFill>
              </a:rPr>
              <a:t>B</a:t>
            </a:r>
            <a:r>
              <a:rPr lang="en-DE">
                <a:solidFill>
                  <a:schemeClr val="bg2">
                    <a:lumMod val="25000"/>
                  </a:schemeClr>
                </a:solidFill>
              </a:rPr>
              <a:t>etter detail visibility and less artifacts compared to Landsat algorithm (due to emissivity calc. procedure) </a:t>
            </a:r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66059D41-71D9-D850-BA1A-463B18D76F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201"/>
          <a:stretch/>
        </p:blipFill>
        <p:spPr bwMode="auto">
          <a:xfrm>
            <a:off x="7903049" y="4103067"/>
            <a:ext cx="2498159" cy="2771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A graph of a line and a line graph&#10;&#10;Description automatically generated with medium confidence">
            <a:extLst>
              <a:ext uri="{FF2B5EF4-FFF2-40B4-BE49-F238E27FC236}">
                <a16:creationId xmlns:a16="http://schemas.microsoft.com/office/drawing/2014/main" id="{3B60F4D6-6B30-938C-CE33-FE8F1DEFF6F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9574" r="50087"/>
          <a:stretch/>
        </p:blipFill>
        <p:spPr>
          <a:xfrm>
            <a:off x="9262539" y="1176795"/>
            <a:ext cx="2673125" cy="2818956"/>
          </a:xfrm>
          <a:prstGeom prst="rect">
            <a:avLst/>
          </a:prstGeom>
        </p:spPr>
      </p:pic>
      <p:pic>
        <p:nvPicPr>
          <p:cNvPr id="12" name="Picture 11" descr="A graph of a graph of a number of numbers&#10;&#10;Description automatically generated with medium confidence">
            <a:extLst>
              <a:ext uri="{FF2B5EF4-FFF2-40B4-BE49-F238E27FC236}">
                <a16:creationId xmlns:a16="http://schemas.microsoft.com/office/drawing/2014/main" id="{F08F1B18-8BCD-843B-B6AB-27F2F19FD98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6986" r="49329"/>
          <a:stretch/>
        </p:blipFill>
        <p:spPr>
          <a:xfrm>
            <a:off x="6350787" y="1095571"/>
            <a:ext cx="2757762" cy="2909026"/>
          </a:xfrm>
          <a:prstGeom prst="rect">
            <a:avLst/>
          </a:prstGeom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92365F97-CFB2-3956-387C-826A7F15CA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2926" y="219518"/>
            <a:ext cx="1308011" cy="654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4A6279E-8CC1-5216-3BFD-4F6AE6000D87}"/>
              </a:ext>
            </a:extLst>
          </p:cNvPr>
          <p:cNvSpPr txBox="1"/>
          <p:nvPr/>
        </p:nvSpPr>
        <p:spPr>
          <a:xfrm>
            <a:off x="610717" y="1257650"/>
            <a:ext cx="285710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b="0" i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ed to Landsat L1 data</a:t>
            </a:r>
            <a:endParaRPr lang="en-BE" b="0" i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A34B4B0-C2AF-0E89-E9BA-AD0A0EF5AD64}"/>
              </a:ext>
            </a:extLst>
          </p:cNvPr>
          <p:cNvSpPr txBox="1"/>
          <p:nvPr/>
        </p:nvSpPr>
        <p:spPr>
          <a:xfrm>
            <a:off x="6593138" y="982756"/>
            <a:ext cx="249815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600" b="0" i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babeb</a:t>
            </a:r>
            <a:r>
              <a:rPr lang="en-US" sz="1600" b="0" i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23)</a:t>
            </a:r>
            <a:endParaRPr lang="en-BE" sz="1600" b="0" i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79A6A6-A7CD-43D1-E539-6B7FE4B2BD12}"/>
              </a:ext>
            </a:extLst>
          </p:cNvPr>
          <p:cNvSpPr txBox="1"/>
          <p:nvPr/>
        </p:nvSpPr>
        <p:spPr>
          <a:xfrm>
            <a:off x="9586815" y="965960"/>
            <a:ext cx="249815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600" b="0" i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ance Lake (2023)</a:t>
            </a:r>
            <a:endParaRPr lang="en-BE" sz="1600" b="0" i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52175C-88D6-991B-38D5-C34EF30D5168}"/>
              </a:ext>
            </a:extLst>
          </p:cNvPr>
          <p:cNvSpPr txBox="1"/>
          <p:nvPr/>
        </p:nvSpPr>
        <p:spPr>
          <a:xfrm>
            <a:off x="8013459" y="3938414"/>
            <a:ext cx="249815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600" b="0" i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ssel Ranch</a:t>
            </a:r>
            <a:endParaRPr lang="en-BE" sz="1600" b="0" i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67091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3B20C4-9EF9-270F-1436-321993860A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BDA93-2214-FF7C-0F80-EF551169C70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1800" y="342521"/>
            <a:ext cx="11303496" cy="408000"/>
          </a:xfrm>
        </p:spPr>
        <p:txBody>
          <a:bodyPr/>
          <a:lstStyle/>
          <a:p>
            <a:r>
              <a:rPr lang="en-GB" sz="2400" i="0">
                <a:solidFill>
                  <a:schemeClr val="bg1"/>
                </a:solidFill>
                <a:effectLst/>
                <a:latin typeface="+mj-lt"/>
              </a:rPr>
              <a:t>Other sectors</a:t>
            </a:r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D440B22-E884-0E42-B18B-149A491FF157}"/>
              </a:ext>
            </a:extLst>
          </p:cNvPr>
          <p:cNvSpPr txBox="1">
            <a:spLocks/>
          </p:cNvSpPr>
          <p:nvPr/>
        </p:nvSpPr>
        <p:spPr>
          <a:xfrm>
            <a:off x="325105" y="232440"/>
            <a:ext cx="11541789" cy="3607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Eina04-SemiBold" panose="02000000000000000000" pitchFamily="50" charset="0"/>
                <a:ea typeface="+mj-ea"/>
                <a:cs typeface="+mj-cs"/>
              </a:defRPr>
            </a:lvl1pPr>
          </a:lstStyle>
          <a:p>
            <a:pPr defTabSz="914377">
              <a:defRPr/>
            </a:pPr>
            <a:r>
              <a:rPr lang="en-GB" sz="2400" b="1">
                <a:solidFill>
                  <a:srgbClr val="1C0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ellr as a Copernicus Contributing Miss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CB8A4C5-0E39-B560-326E-84CDD7DB0C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7742" y="3460159"/>
            <a:ext cx="5110664" cy="2704381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3" name="Picture 4" descr="EU Space and the Coronavirus | Copernicus">
            <a:extLst>
              <a:ext uri="{FF2B5EF4-FFF2-40B4-BE49-F238E27FC236}">
                <a16:creationId xmlns:a16="http://schemas.microsoft.com/office/drawing/2014/main" id="{3A1A7FD7-F2AB-4963-D5B5-753C4A5397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alphaModFix amt="7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591927" y="246617"/>
            <a:ext cx="2600073" cy="724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A satellite image of a lake&#10;&#10;Description automatically generated">
            <a:extLst>
              <a:ext uri="{FF2B5EF4-FFF2-40B4-BE49-F238E27FC236}">
                <a16:creationId xmlns:a16="http://schemas.microsoft.com/office/drawing/2014/main" id="{9D0E6180-A1CF-340D-76BE-3C0471CF93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3594" y="1549580"/>
            <a:ext cx="4971342" cy="34799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9" name="Titel 1">
            <a:extLst>
              <a:ext uri="{FF2B5EF4-FFF2-40B4-BE49-F238E27FC236}">
                <a16:creationId xmlns:a16="http://schemas.microsoft.com/office/drawing/2014/main" id="{14F3932B-53A7-9124-5C20-C55892DF7DB2}"/>
              </a:ext>
            </a:extLst>
          </p:cNvPr>
          <p:cNvSpPr txBox="1">
            <a:spLocks/>
          </p:cNvSpPr>
          <p:nvPr/>
        </p:nvSpPr>
        <p:spPr>
          <a:xfrm>
            <a:off x="1494896" y="997015"/>
            <a:ext cx="3594690" cy="408000"/>
          </a:xfrm>
        </p:spPr>
        <p:txBody>
          <a:bodyPr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bg1"/>
                </a:solidFill>
                <a:latin typeface="Eina 04 Regular" panose="02000000000000000000" pitchFamily="50" charset="0"/>
                <a:ea typeface="Eina 04 Regular" panose="02000000000000000000" pitchFamily="50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Eina 04 Regular" panose="02000000000000000000" pitchFamily="50" charset="0"/>
                <a:cs typeface="Arial"/>
                <a:sym typeface="Arial"/>
              </a:rPr>
              <a:t>Balaton lake – 17/03/2019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9C4342-F006-C0FC-F864-22C2BC14A656}"/>
              </a:ext>
            </a:extLst>
          </p:cNvPr>
          <p:cNvSpPr txBox="1"/>
          <p:nvPr/>
        </p:nvSpPr>
        <p:spPr>
          <a:xfrm>
            <a:off x="6096000" y="971137"/>
            <a:ext cx="5362406" cy="21852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spcAft>
                <a:spcPts val="1200"/>
              </a:spcAft>
            </a:pPr>
            <a:r>
              <a:rPr lang="en-US" sz="1600" b="1">
                <a:solidFill>
                  <a:srgbClr val="160A42"/>
                </a:solidFill>
              </a:rPr>
              <a:t>Pilot activity:</a:t>
            </a: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60A42"/>
                </a:solidFill>
              </a:rPr>
              <a:t>10 years of harmonized data over Balaton Lake have been processed and delivered for a case study on algae blooming detection and turbidity monitoring.</a:t>
            </a: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60A42"/>
                </a:solidFill>
              </a:rPr>
              <a:t>HiVE data will follow in 2025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60A42"/>
                </a:solidFill>
              </a:rPr>
              <a:t>Data will be included in the Copernicus Climate Data Store</a:t>
            </a:r>
            <a:endParaRPr lang="en-BE" sz="1600">
              <a:solidFill>
                <a:srgbClr val="160A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0462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992142-AD53-BB65-E544-837ED22460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D124A3-4F82-A145-8C62-DCCE83C1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portfolio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2025 </a:t>
            </a:r>
            <a:r>
              <a:rPr lang="de-DE" err="1"/>
              <a:t>offers</a:t>
            </a:r>
            <a:r>
              <a:rPr lang="de-DE"/>
              <a:t> </a:t>
            </a:r>
            <a:r>
              <a:rPr lang="de-DE" err="1"/>
              <a:t>possibilitie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customer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xplore</a:t>
            </a:r>
            <a:r>
              <a:rPr lang="de-DE"/>
              <a:t> </a:t>
            </a:r>
            <a:r>
              <a:rPr lang="de-DE" err="1"/>
              <a:t>temperature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in </a:t>
            </a:r>
            <a:r>
              <a:rPr lang="de-DE" err="1"/>
              <a:t>ways</a:t>
            </a:r>
            <a:r>
              <a:rPr lang="de-DE"/>
              <a:t> </a:t>
            </a:r>
            <a:r>
              <a:rPr lang="de-DE" err="1"/>
              <a:t>never</a:t>
            </a:r>
            <a:r>
              <a:rPr lang="de-DE"/>
              <a:t> </a:t>
            </a:r>
            <a:r>
              <a:rPr lang="de-DE" err="1"/>
              <a:t>seen</a:t>
            </a:r>
            <a:r>
              <a:rPr lang="de-DE"/>
              <a:t> </a:t>
            </a:r>
            <a:r>
              <a:rPr lang="de-DE" err="1"/>
              <a:t>before</a:t>
            </a:r>
            <a:endParaRPr lang="de-DE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129E229-7208-3207-7988-71DE61C63850}"/>
              </a:ext>
            </a:extLst>
          </p:cNvPr>
          <p:cNvSpPr/>
          <p:nvPr/>
        </p:nvSpPr>
        <p:spPr>
          <a:xfrm>
            <a:off x="471167" y="1891168"/>
            <a:ext cx="2746320" cy="14585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/>
            </a:solidFill>
          </a:ln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33D3C92-1C41-61C5-5B67-7E98767BC980}"/>
              </a:ext>
            </a:extLst>
          </p:cNvPr>
          <p:cNvSpPr/>
          <p:nvPr/>
        </p:nvSpPr>
        <p:spPr>
          <a:xfrm>
            <a:off x="4099683" y="1896818"/>
            <a:ext cx="2746320" cy="14585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/>
            </a:solidFill>
          </a:ln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AE39A31-23D3-B7BD-A690-468CE409916F}"/>
              </a:ext>
            </a:extLst>
          </p:cNvPr>
          <p:cNvSpPr/>
          <p:nvPr/>
        </p:nvSpPr>
        <p:spPr>
          <a:xfrm>
            <a:off x="7723713" y="1904737"/>
            <a:ext cx="2746320" cy="14585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/>
            </a:solidFill>
          </a:ln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2" name="Picture 9" descr="A map of a city&#10;&#10;Description automatically generated">
            <a:extLst>
              <a:ext uri="{FF2B5EF4-FFF2-40B4-BE49-F238E27FC236}">
                <a16:creationId xmlns:a16="http://schemas.microsoft.com/office/drawing/2014/main" id="{2181217E-4B4E-FB9B-62AA-A0382840E41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31" t="33600" r="36498" b="22326"/>
          <a:stretch/>
        </p:blipFill>
        <p:spPr>
          <a:xfrm>
            <a:off x="7726456" y="3349683"/>
            <a:ext cx="2746318" cy="2622210"/>
          </a:xfrm>
          <a:prstGeom prst="rect">
            <a:avLst/>
          </a:prstGeom>
        </p:spPr>
      </p:pic>
      <p:pic>
        <p:nvPicPr>
          <p:cNvPr id="23" name="Picture 12" descr="A map of a city&#10;&#10;Description automatically generated">
            <a:extLst>
              <a:ext uri="{FF2B5EF4-FFF2-40B4-BE49-F238E27FC236}">
                <a16:creationId xmlns:a16="http://schemas.microsoft.com/office/drawing/2014/main" id="{7C4ABAAB-10C2-516B-D543-9D6F3249BAF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8" t="26672" r="30052" b="20592"/>
          <a:stretch/>
        </p:blipFill>
        <p:spPr>
          <a:xfrm>
            <a:off x="4100729" y="3349683"/>
            <a:ext cx="2752831" cy="2620983"/>
          </a:xfrm>
          <a:prstGeom prst="rect">
            <a:avLst/>
          </a:prstGeom>
        </p:spPr>
      </p:pic>
      <p:pic>
        <p:nvPicPr>
          <p:cNvPr id="24" name="Picture 4" descr="A map of a river&#10;&#10;Description automatically generated">
            <a:extLst>
              <a:ext uri="{FF2B5EF4-FFF2-40B4-BE49-F238E27FC236}">
                <a16:creationId xmlns:a16="http://schemas.microsoft.com/office/drawing/2014/main" id="{57ADD715-3A4B-8317-B78E-FCF896155D4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3" t="6882" r="6767" b="6731"/>
          <a:stretch/>
        </p:blipFill>
        <p:spPr>
          <a:xfrm>
            <a:off x="483917" y="3349685"/>
            <a:ext cx="2733570" cy="2620982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3FE619F8-CEF7-04B1-AF25-F830486635AB}"/>
              </a:ext>
            </a:extLst>
          </p:cNvPr>
          <p:cNvSpPr/>
          <p:nvPr/>
        </p:nvSpPr>
        <p:spPr>
          <a:xfrm>
            <a:off x="471167" y="1554688"/>
            <a:ext cx="2746320" cy="486445"/>
          </a:xfrm>
          <a:prstGeom prst="rect">
            <a:avLst/>
          </a:prstGeom>
          <a:solidFill>
            <a:schemeClr val="tx1"/>
          </a:solidFill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ST</a:t>
            </a:r>
            <a:r>
              <a:rPr kumimoji="0" lang="de-DE" sz="1600" b="0" i="1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usion</a:t>
            </a:r>
            <a:endParaRPr kumimoji="0" lang="de-DE" sz="16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F9F0080-A9E6-5BD4-542B-E4A196892FA7}"/>
              </a:ext>
            </a:extLst>
          </p:cNvPr>
          <p:cNvSpPr/>
          <p:nvPr/>
        </p:nvSpPr>
        <p:spPr>
          <a:xfrm>
            <a:off x="4099683" y="1554688"/>
            <a:ext cx="2746320" cy="486445"/>
          </a:xfrm>
          <a:prstGeom prst="rect">
            <a:avLst/>
          </a:prstGeom>
          <a:solidFill>
            <a:schemeClr val="tx1"/>
          </a:solidFill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ST</a:t>
            </a:r>
            <a:r>
              <a:rPr kumimoji="0" lang="de-DE" sz="1600" b="0" i="1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cision</a:t>
            </a:r>
            <a:endParaRPr kumimoji="0" lang="de-DE" sz="16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30513D9-B4EB-2BD1-DD25-FFC01E6EA24B}"/>
              </a:ext>
            </a:extLst>
          </p:cNvPr>
          <p:cNvSpPr/>
          <p:nvPr/>
        </p:nvSpPr>
        <p:spPr>
          <a:xfrm>
            <a:off x="7714947" y="1550495"/>
            <a:ext cx="2757827" cy="486445"/>
          </a:xfrm>
          <a:prstGeom prst="rect">
            <a:avLst/>
          </a:prstGeom>
          <a:solidFill>
            <a:schemeClr val="tx1"/>
          </a:solidFill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ST</a:t>
            </a:r>
            <a:r>
              <a:rPr kumimoji="0" lang="de-DE" sz="1600" b="0" i="1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oom</a:t>
            </a:r>
            <a:endParaRPr kumimoji="0" lang="de-DE" sz="16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6C69E96-BF0F-1D3A-3226-34B78AD5140A}"/>
              </a:ext>
            </a:extLst>
          </p:cNvPr>
          <p:cNvSpPr txBox="1"/>
          <p:nvPr/>
        </p:nvSpPr>
        <p:spPr>
          <a:xfrm>
            <a:off x="528960" y="2099233"/>
            <a:ext cx="2617291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m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atial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olution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used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s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rge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ea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erage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iable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equency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days) 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BFD3DF6B-4C7E-2E96-B866-88940B402FF8}"/>
              </a:ext>
            </a:extLst>
          </p:cNvPr>
          <p:cNvSpPr txBox="1"/>
          <p:nvPr/>
        </p:nvSpPr>
        <p:spPr>
          <a:xfrm>
            <a:off x="4168569" y="2112485"/>
            <a:ext cx="267743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m native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olution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rietary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mperature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nsitivity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y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visit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631C2937-B7D9-871E-FB1F-708691702E52}"/>
              </a:ext>
            </a:extLst>
          </p:cNvPr>
          <p:cNvSpPr txBox="1"/>
          <p:nvPr/>
        </p:nvSpPr>
        <p:spPr>
          <a:xfrm>
            <a:off x="7728196" y="2106907"/>
            <a:ext cx="300897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m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atial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olution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rietary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arpened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sually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st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olved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y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visit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CAC246DC-3FAB-9A33-5C79-CE8B5665C3C5}"/>
              </a:ext>
            </a:extLst>
          </p:cNvPr>
          <p:cNvSpPr txBox="1"/>
          <p:nvPr/>
        </p:nvSpPr>
        <p:spPr>
          <a:xfrm>
            <a:off x="776497" y="5312028"/>
            <a:ext cx="2289079" cy="523220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60A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   Large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160A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erage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60A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&amp;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160A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inuity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160A4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82AAB77-F648-04FF-20CF-9A76237ED811}"/>
              </a:ext>
            </a:extLst>
          </p:cNvPr>
          <p:cNvSpPr txBox="1"/>
          <p:nvPr/>
        </p:nvSpPr>
        <p:spPr>
          <a:xfrm>
            <a:off x="4452363" y="5430527"/>
            <a:ext cx="2147216" cy="307777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60A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160A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uracy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160A4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5F9F75C2-DDA7-2BC0-D057-75908E8884C5}"/>
              </a:ext>
            </a:extLst>
          </p:cNvPr>
          <p:cNvSpPr txBox="1"/>
          <p:nvPr/>
        </p:nvSpPr>
        <p:spPr>
          <a:xfrm>
            <a:off x="8137870" y="5426749"/>
            <a:ext cx="2026548" cy="307777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160A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st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160A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olution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160A4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4C9E5FF6-774F-FAE2-84A5-513E613F2884}"/>
              </a:ext>
            </a:extLst>
          </p:cNvPr>
          <p:cNvSpPr/>
          <p:nvPr/>
        </p:nvSpPr>
        <p:spPr>
          <a:xfrm>
            <a:off x="473630" y="1550494"/>
            <a:ext cx="2743857" cy="442017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CFA27FA-EAD0-5368-24C2-E133617DFE81}"/>
              </a:ext>
            </a:extLst>
          </p:cNvPr>
          <p:cNvSpPr/>
          <p:nvPr/>
        </p:nvSpPr>
        <p:spPr>
          <a:xfrm>
            <a:off x="4092124" y="1550493"/>
            <a:ext cx="2761435" cy="442017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8918CF2-D5B8-8FA0-7127-BD5B1997BCA2}"/>
              </a:ext>
            </a:extLst>
          </p:cNvPr>
          <p:cNvSpPr/>
          <p:nvPr/>
        </p:nvSpPr>
        <p:spPr>
          <a:xfrm>
            <a:off x="7713204" y="1550493"/>
            <a:ext cx="2759570" cy="442017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28578F51-6BB2-92D3-D79F-C773C76A9DDA}"/>
              </a:ext>
            </a:extLst>
          </p:cNvPr>
          <p:cNvSpPr txBox="1"/>
          <p:nvPr/>
        </p:nvSpPr>
        <p:spPr>
          <a:xfrm>
            <a:off x="7947662" y="5388376"/>
            <a:ext cx="303301" cy="348101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160A4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B24436DA-5681-BDFA-E41C-D80D8D48D4BD}"/>
              </a:ext>
            </a:extLst>
          </p:cNvPr>
          <p:cNvSpPr txBox="1"/>
          <p:nvPr/>
        </p:nvSpPr>
        <p:spPr>
          <a:xfrm>
            <a:off x="4383396" y="5394708"/>
            <a:ext cx="303301" cy="348101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160A4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A1F8264-EBE2-D08A-983B-48F4B0754E97}"/>
              </a:ext>
            </a:extLst>
          </p:cNvPr>
          <p:cNvSpPr txBox="1"/>
          <p:nvPr/>
        </p:nvSpPr>
        <p:spPr>
          <a:xfrm>
            <a:off x="723601" y="5380565"/>
            <a:ext cx="303301" cy="348101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160A4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0" name="Grafik 39" descr="Marke folgen mit einfarbiger Füllung">
            <a:extLst>
              <a:ext uri="{FF2B5EF4-FFF2-40B4-BE49-F238E27FC236}">
                <a16:creationId xmlns:a16="http://schemas.microsoft.com/office/drawing/2014/main" id="{C73C191D-02FC-1DFD-DF88-CCF58B33FE8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6925" y="5231605"/>
            <a:ext cx="684067" cy="684067"/>
          </a:xfrm>
          <a:prstGeom prst="rect">
            <a:avLst/>
          </a:prstGeom>
        </p:spPr>
      </p:pic>
      <p:pic>
        <p:nvPicPr>
          <p:cNvPr id="41" name="Grafik 40" descr="Marke folgen mit einfarbiger Füllung">
            <a:extLst>
              <a:ext uri="{FF2B5EF4-FFF2-40B4-BE49-F238E27FC236}">
                <a16:creationId xmlns:a16="http://schemas.microsoft.com/office/drawing/2014/main" id="{C67EC791-BDA0-9B56-CF94-4B2538B9F5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57577" y="5237266"/>
            <a:ext cx="684067" cy="684067"/>
          </a:xfrm>
          <a:prstGeom prst="rect">
            <a:avLst/>
          </a:prstGeom>
        </p:spPr>
      </p:pic>
      <p:pic>
        <p:nvPicPr>
          <p:cNvPr id="42" name="Grafik 41" descr="Marke folgen mit einfarbiger Füllung">
            <a:extLst>
              <a:ext uri="{FF2B5EF4-FFF2-40B4-BE49-F238E27FC236}">
                <a16:creationId xmlns:a16="http://schemas.microsoft.com/office/drawing/2014/main" id="{CF681C42-9956-0B33-95C9-82402E408B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75521" y="5233940"/>
            <a:ext cx="684067" cy="684067"/>
          </a:xfrm>
          <a:prstGeom prst="rect">
            <a:avLst/>
          </a:prstGeom>
        </p:spPr>
      </p:pic>
      <p:sp>
        <p:nvSpPr>
          <p:cNvPr id="43" name="Abgerundetes Rechteck 42">
            <a:extLst>
              <a:ext uri="{FF2B5EF4-FFF2-40B4-BE49-F238E27FC236}">
                <a16:creationId xmlns:a16="http://schemas.microsoft.com/office/drawing/2014/main" id="{CA2D9FD0-1B34-547F-FAA6-40F83143C5C8}"/>
              </a:ext>
            </a:extLst>
          </p:cNvPr>
          <p:cNvSpPr/>
          <p:nvPr/>
        </p:nvSpPr>
        <p:spPr>
          <a:xfrm rot="370115">
            <a:off x="5634571" y="1305137"/>
            <a:ext cx="1628600" cy="289365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2 2025</a:t>
            </a:r>
          </a:p>
        </p:txBody>
      </p:sp>
      <p:sp>
        <p:nvSpPr>
          <p:cNvPr id="44" name="Abgerundetes Rechteck 43">
            <a:extLst>
              <a:ext uri="{FF2B5EF4-FFF2-40B4-BE49-F238E27FC236}">
                <a16:creationId xmlns:a16="http://schemas.microsoft.com/office/drawing/2014/main" id="{780C7F01-24FA-CEAE-2BAB-5911A98D9765}"/>
              </a:ext>
            </a:extLst>
          </p:cNvPr>
          <p:cNvSpPr/>
          <p:nvPr/>
        </p:nvSpPr>
        <p:spPr>
          <a:xfrm rot="370115">
            <a:off x="9353865" y="1317329"/>
            <a:ext cx="1628600" cy="289365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2 2025</a:t>
            </a:r>
          </a:p>
        </p:txBody>
      </p:sp>
      <p:sp>
        <p:nvSpPr>
          <p:cNvPr id="45" name="Abgerundetes Rechteck 44">
            <a:extLst>
              <a:ext uri="{FF2B5EF4-FFF2-40B4-BE49-F238E27FC236}">
                <a16:creationId xmlns:a16="http://schemas.microsoft.com/office/drawing/2014/main" id="{10647021-5B9F-132C-6CE7-E9FCB49FF517}"/>
              </a:ext>
            </a:extLst>
          </p:cNvPr>
          <p:cNvSpPr/>
          <p:nvPr/>
        </p:nvSpPr>
        <p:spPr>
          <a:xfrm rot="370115">
            <a:off x="2022870" y="1301156"/>
            <a:ext cx="1628600" cy="289365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d of Q1 2025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5E3998C0-FBC3-645C-06D2-A9BE7E8E1DDD}"/>
              </a:ext>
            </a:extLst>
          </p:cNvPr>
          <p:cNvSpPr/>
          <p:nvPr/>
        </p:nvSpPr>
        <p:spPr>
          <a:xfrm>
            <a:off x="4099683" y="3343856"/>
            <a:ext cx="2746320" cy="57588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igh-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ue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et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nitoring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C369B304-1686-18C0-92EC-78D6AAFBBD1C}"/>
              </a:ext>
            </a:extLst>
          </p:cNvPr>
          <p:cNvSpPr/>
          <p:nvPr/>
        </p:nvSpPr>
        <p:spPr>
          <a:xfrm>
            <a:off x="7706320" y="3343855"/>
            <a:ext cx="2759570" cy="57588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ooming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in                         on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omalies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9ACDDC9-3026-5754-878E-246FD12F0C81}"/>
              </a:ext>
            </a:extLst>
          </p:cNvPr>
          <p:cNvSpPr/>
          <p:nvPr/>
        </p:nvSpPr>
        <p:spPr>
          <a:xfrm>
            <a:off x="483917" y="3344823"/>
            <a:ext cx="2741129" cy="5677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liable large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ale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nitoring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58578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054B90-7880-2B07-AE0C-442691F0F5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0A57B16F-767E-44DD-1102-D16262519051}"/>
              </a:ext>
            </a:extLst>
          </p:cNvPr>
          <p:cNvSpPr txBox="1">
            <a:spLocks/>
          </p:cNvSpPr>
          <p:nvPr/>
        </p:nvSpPr>
        <p:spPr>
          <a:xfrm>
            <a:off x="488851" y="249517"/>
            <a:ext cx="11541789" cy="3607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Eina04-SemiBold" panose="02000000000000000000" pitchFamily="50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z="2600" b="1">
                <a:solidFill>
                  <a:srgbClr val="1C0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sz="2600" b="1" err="1">
                <a:solidFill>
                  <a:srgbClr val="1C0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ST</a:t>
            </a:r>
            <a:r>
              <a:rPr lang="en-GB" sz="2600" b="1" i="1" err="1">
                <a:solidFill>
                  <a:srgbClr val="1C0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sion</a:t>
            </a:r>
            <a:r>
              <a:rPr lang="en-GB" sz="2600" b="1" i="1">
                <a:solidFill>
                  <a:srgbClr val="1C0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600" b="1">
                <a:solidFill>
                  <a:srgbClr val="1C0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3E1096D4-A2AF-DB6D-2ADB-06C5D6FB9C14}"/>
              </a:ext>
            </a:extLst>
          </p:cNvPr>
          <p:cNvSpPr txBox="1">
            <a:spLocks/>
          </p:cNvSpPr>
          <p:nvPr/>
        </p:nvSpPr>
        <p:spPr>
          <a:xfrm>
            <a:off x="488851" y="804240"/>
            <a:ext cx="5516098" cy="2206386"/>
          </a:xfrm>
          <a:prstGeom prst="rect">
            <a:avLst/>
          </a:prstGeom>
          <a:solidFill>
            <a:schemeClr val="accent1">
              <a:lumMod val="40000"/>
              <a:lumOff val="60000"/>
              <a:alpha val="49000"/>
            </a:schemeClr>
          </a:solidFill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ea typeface="+mn-ea"/>
                <a:cs typeface="+mn-cs"/>
              </a:rPr>
              <a:t>The problem</a:t>
            </a:r>
          </a:p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ea typeface="+mn-ea"/>
                <a:cs typeface="+mn-cs"/>
              </a:rPr>
              <a:t>Many gaps in LST observation maps caused by limited spatial coverage and revisit times of current thermal instruments.</a:t>
            </a:r>
          </a:p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>
                <a:solidFill>
                  <a:srgbClr val="1C0F46"/>
                </a:solidFill>
              </a:rPr>
              <a:t>Inconsistencies between satellite product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1BA802-ADA9-0FF6-37B2-1AAB2BB0D35C}"/>
              </a:ext>
            </a:extLst>
          </p:cNvPr>
          <p:cNvSpPr txBox="1"/>
          <p:nvPr/>
        </p:nvSpPr>
        <p:spPr>
          <a:xfrm>
            <a:off x="6934043" y="1727666"/>
            <a:ext cx="442806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GB" sz="2000" b="1">
                <a:solidFill>
                  <a:srgbClr val="1C0F46"/>
                </a:solidFill>
                <a:sym typeface="Wingdings" panose="05000000000000000000" pitchFamily="2" charset="2"/>
              </a:rPr>
              <a:t>Development of </a:t>
            </a:r>
            <a:r>
              <a:rPr kumimoji="0" lang="en-GB" sz="2000" b="1" u="none" strike="noStrike" kern="1200" cap="none" spc="0" normalizeH="0" baseline="0" noProof="0" err="1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LST</a:t>
            </a:r>
            <a:r>
              <a:rPr kumimoji="0" lang="en-GB" sz="2000" b="1" i="1" u="none" strike="noStrike" kern="1200" cap="none" spc="0" normalizeH="0" baseline="0" noProof="0" err="1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fusion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1C0F46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510C91DF-63FE-1034-8D47-AA025412C289}"/>
              </a:ext>
            </a:extLst>
          </p:cNvPr>
          <p:cNvSpPr/>
          <p:nvPr/>
        </p:nvSpPr>
        <p:spPr>
          <a:xfrm>
            <a:off x="6407832" y="1571001"/>
            <a:ext cx="785004" cy="67286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2B6BD8"/>
            </a:solidFill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BE" sz="1800">
              <a:ln>
                <a:solidFill>
                  <a:srgbClr val="000000"/>
                </a:solidFill>
              </a:ln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DEA19B7-2925-BD4E-883C-D54126B6192A}"/>
              </a:ext>
            </a:extLst>
          </p:cNvPr>
          <p:cNvGrpSpPr/>
          <p:nvPr/>
        </p:nvGrpSpPr>
        <p:grpSpPr>
          <a:xfrm>
            <a:off x="3834754" y="3166782"/>
            <a:ext cx="7817781" cy="3314447"/>
            <a:chOff x="3834754" y="3166782"/>
            <a:chExt cx="7817781" cy="3314447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FA401182-0EDB-7CE1-AE8F-932DBFC6DF1A}"/>
                </a:ext>
              </a:extLst>
            </p:cNvPr>
            <p:cNvGrpSpPr/>
            <p:nvPr/>
          </p:nvGrpSpPr>
          <p:grpSpPr>
            <a:xfrm>
              <a:off x="4469116" y="3187022"/>
              <a:ext cx="6834861" cy="3294207"/>
              <a:chOff x="4469116" y="3187022"/>
              <a:chExt cx="6834861" cy="3294207"/>
            </a:xfrm>
          </p:grpSpPr>
          <p:pic>
            <p:nvPicPr>
              <p:cNvPr id="16" name="Picture 15" descr="A blue line graph with numbers&#10;&#10;Description automatically generated">
                <a:extLst>
                  <a:ext uri="{FF2B5EF4-FFF2-40B4-BE49-F238E27FC236}">
                    <a16:creationId xmlns:a16="http://schemas.microsoft.com/office/drawing/2014/main" id="{E75563CA-2478-788C-E536-477B857319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531168" y="5140743"/>
                <a:ext cx="2038982" cy="1340486"/>
              </a:xfrm>
              <a:prstGeom prst="rect">
                <a:avLst/>
              </a:prstGeom>
            </p:spPr>
          </p:pic>
          <p:pic>
            <p:nvPicPr>
              <p:cNvPr id="15" name="Content Placeholder 3" descr="A close-up of a colorful image&#10;&#10;Description automatically generated">
                <a:extLst>
                  <a:ext uri="{FF2B5EF4-FFF2-40B4-BE49-F238E27FC236}">
                    <a16:creationId xmlns:a16="http://schemas.microsoft.com/office/drawing/2014/main" id="{ABE6CD2D-BCA0-2DDA-5673-2D4B0E358F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469116" y="3416559"/>
                <a:ext cx="2163086" cy="1494647"/>
              </a:xfrm>
              <a:prstGeom prst="rect">
                <a:avLst/>
              </a:prstGeom>
            </p:spPr>
          </p:pic>
          <p:pic>
            <p:nvPicPr>
              <p:cNvPr id="17" name="Picture 16" descr="A screenshot of a computer generated image&#10;&#10;Description automatically generated">
                <a:extLst>
                  <a:ext uri="{FF2B5EF4-FFF2-40B4-BE49-F238E27FC236}">
                    <a16:creationId xmlns:a16="http://schemas.microsoft.com/office/drawing/2014/main" id="{342087E4-38F1-0C8A-28D5-49D1FD2A88D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802" t="6885" r="13583" b="9307"/>
              <a:stretch/>
            </p:blipFill>
            <p:spPr bwMode="auto">
              <a:xfrm>
                <a:off x="7478315" y="3455504"/>
                <a:ext cx="3825662" cy="2968022"/>
              </a:xfrm>
              <a:prstGeom prst="rect">
                <a:avLst/>
              </a:prstGeom>
              <a:noFill/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cxnSp>
            <p:nvCxnSpPr>
              <p:cNvPr id="18" name="Straight Arrow Connector 17">
                <a:extLst>
                  <a:ext uri="{FF2B5EF4-FFF2-40B4-BE49-F238E27FC236}">
                    <a16:creationId xmlns:a16="http://schemas.microsoft.com/office/drawing/2014/main" id="{76EA41BB-4C02-B784-405C-724741996AE3}"/>
                  </a:ext>
                </a:extLst>
              </p:cNvPr>
              <p:cNvCxnSpPr>
                <a:cxnSpLocks/>
                <a:stCxn id="15" idx="3"/>
                <a:endCxn id="17" idx="1"/>
              </p:cNvCxnSpPr>
              <p:nvPr/>
            </p:nvCxnSpPr>
            <p:spPr>
              <a:xfrm>
                <a:off x="6632202" y="4163883"/>
                <a:ext cx="846113" cy="775632"/>
              </a:xfrm>
              <a:prstGeom prst="straightConnector1">
                <a:avLst/>
              </a:prstGeom>
              <a:noFill/>
              <a:ln w="19050" cap="flat" cmpd="sng" algn="ctr">
                <a:solidFill>
                  <a:srgbClr val="156082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19" name="Straight Arrow Connector 18">
                <a:extLst>
                  <a:ext uri="{FF2B5EF4-FFF2-40B4-BE49-F238E27FC236}">
                    <a16:creationId xmlns:a16="http://schemas.microsoft.com/office/drawing/2014/main" id="{4AF201D8-D2C9-4F9D-D987-613054CC3360}"/>
                  </a:ext>
                </a:extLst>
              </p:cNvPr>
              <p:cNvCxnSpPr>
                <a:cxnSpLocks/>
                <a:stCxn id="16" idx="3"/>
                <a:endCxn id="17" idx="1"/>
              </p:cNvCxnSpPr>
              <p:nvPr/>
            </p:nvCxnSpPr>
            <p:spPr>
              <a:xfrm flipV="1">
                <a:off x="6570150" y="4939515"/>
                <a:ext cx="908165" cy="871471"/>
              </a:xfrm>
              <a:prstGeom prst="straightConnector1">
                <a:avLst/>
              </a:prstGeom>
              <a:noFill/>
              <a:ln w="19050" cap="flat" cmpd="sng" algn="ctr">
                <a:solidFill>
                  <a:srgbClr val="156082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C560F3A3-CCA7-028F-C714-E5DC74504303}"/>
                  </a:ext>
                </a:extLst>
              </p:cNvPr>
              <p:cNvSpPr txBox="1"/>
              <p:nvPr/>
            </p:nvSpPr>
            <p:spPr>
              <a:xfrm>
                <a:off x="4653605" y="3187022"/>
                <a:ext cx="2038982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160A4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at. observations</a:t>
                </a:r>
                <a:endParaRPr lang="en-BE" sz="1600" b="1" i="0">
                  <a:solidFill>
                    <a:srgbClr val="160A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E2B56323-2E0D-4FB0-00E2-8B3AD21BF887}"/>
                  </a:ext>
                </a:extLst>
              </p:cNvPr>
              <p:cNvSpPr txBox="1"/>
              <p:nvPr/>
            </p:nvSpPr>
            <p:spPr>
              <a:xfrm>
                <a:off x="4623413" y="4909653"/>
                <a:ext cx="2038982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160A4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urnal cycle model</a:t>
                </a:r>
                <a:endParaRPr lang="en-BE" sz="1600" b="1" i="0">
                  <a:solidFill>
                    <a:srgbClr val="160A4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Abgerundetes Rechteck 33">
              <a:extLst>
                <a:ext uri="{FF2B5EF4-FFF2-40B4-BE49-F238E27FC236}">
                  <a16:creationId xmlns:a16="http://schemas.microsoft.com/office/drawing/2014/main" id="{9EF120BA-EBE1-46AB-4F02-FD67D2FB103F}"/>
                </a:ext>
              </a:extLst>
            </p:cNvPr>
            <p:cNvSpPr/>
            <p:nvPr/>
          </p:nvSpPr>
          <p:spPr>
            <a:xfrm>
              <a:off x="3834754" y="3166782"/>
              <a:ext cx="7817781" cy="3314447"/>
            </a:xfrm>
            <a:prstGeom prst="roundRect">
              <a:avLst/>
            </a:prstGeom>
            <a:noFill/>
            <a:ln w="22225">
              <a:solidFill>
                <a:schemeClr val="accent2">
                  <a:lumMod val="50000"/>
                </a:schemeClr>
              </a:solidFill>
            </a:ln>
          </p:spPr>
          <p:txBody>
            <a:bodyPr vert="horz" lIns="72000" tIns="72000" rIns="72000" bIns="7200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en-GB" sz="1800">
                <a:ln>
                  <a:solidFill>
                    <a:srgbClr val="000000"/>
                  </a:solidFill>
                </a:ln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9075325B-ECA7-E573-DE3D-2E537DEF229B}"/>
              </a:ext>
            </a:extLst>
          </p:cNvPr>
          <p:cNvSpPr txBox="1"/>
          <p:nvPr/>
        </p:nvSpPr>
        <p:spPr>
          <a:xfrm>
            <a:off x="276372" y="3801657"/>
            <a:ext cx="3391195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GB" sz="2000">
                <a:solidFill>
                  <a:srgbClr val="1C0F46"/>
                </a:solidFill>
                <a:sym typeface="Wingdings" panose="05000000000000000000" pitchFamily="2" charset="2"/>
              </a:rPr>
              <a:t>Relies on a data assimilation approach combining EO data and an optimized diurnal cycle model.</a:t>
            </a:r>
            <a:endParaRPr kumimoji="0" lang="en-GB" sz="2000" i="0" u="none" strike="noStrike" kern="1200" cap="none" spc="0" normalizeH="0" baseline="0" noProof="0">
              <a:ln>
                <a:noFill/>
              </a:ln>
              <a:solidFill>
                <a:srgbClr val="1C0F46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16617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836923-2F3C-9E7B-F3F3-F9FEE5764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090F6C0D-0AD8-61AB-AD50-E856F9D0C42E}"/>
              </a:ext>
            </a:extLst>
          </p:cNvPr>
          <p:cNvSpPr txBox="1">
            <a:spLocks/>
          </p:cNvSpPr>
          <p:nvPr/>
        </p:nvSpPr>
        <p:spPr>
          <a:xfrm>
            <a:off x="488851" y="344404"/>
            <a:ext cx="11541789" cy="3607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Eina04-SemiBold" panose="02000000000000000000" pitchFamily="50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z="2600" b="1">
                <a:solidFill>
                  <a:srgbClr val="1C0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sz="2600" b="1" err="1">
                <a:solidFill>
                  <a:srgbClr val="1C0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ST</a:t>
            </a:r>
            <a:r>
              <a:rPr lang="en-GB" sz="2600" b="1" i="1" err="1">
                <a:solidFill>
                  <a:srgbClr val="1C0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sion</a:t>
            </a:r>
            <a:r>
              <a:rPr lang="en-GB" sz="2600" b="1" i="1">
                <a:solidFill>
                  <a:srgbClr val="1C0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600" b="1">
                <a:solidFill>
                  <a:srgbClr val="1C0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</a:p>
        </p:txBody>
      </p:sp>
      <p:pic>
        <p:nvPicPr>
          <p:cNvPr id="3074" name="Picture 2" descr="A diagram of a product&#10;&#10;Description automatically generated">
            <a:extLst>
              <a:ext uri="{FF2B5EF4-FFF2-40B4-BE49-F238E27FC236}">
                <a16:creationId xmlns:a16="http://schemas.microsoft.com/office/drawing/2014/main" id="{E2856924-BB61-7228-0DB1-D152F8EF3A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082" y="1268714"/>
            <a:ext cx="6057663" cy="3407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E5D8FA5-C8A6-A620-179E-6C4A96668B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2465318"/>
              </p:ext>
            </p:extLst>
          </p:nvPr>
        </p:nvGraphicFramePr>
        <p:xfrm>
          <a:off x="6487734" y="531309"/>
          <a:ext cx="5542906" cy="5473496"/>
        </p:xfrm>
        <a:graphic>
          <a:graphicData uri="http://schemas.openxmlformats.org/drawingml/2006/table">
            <a:tbl>
              <a:tblPr firstRow="1" bandRow="1"/>
              <a:tblGrid>
                <a:gridCol w="1440611">
                  <a:extLst>
                    <a:ext uri="{9D8B030D-6E8A-4147-A177-3AD203B41FA5}">
                      <a16:colId xmlns:a16="http://schemas.microsoft.com/office/drawing/2014/main" val="844760849"/>
                    </a:ext>
                  </a:extLst>
                </a:gridCol>
                <a:gridCol w="750498">
                  <a:extLst>
                    <a:ext uri="{9D8B030D-6E8A-4147-A177-3AD203B41FA5}">
                      <a16:colId xmlns:a16="http://schemas.microsoft.com/office/drawing/2014/main" val="667575090"/>
                    </a:ext>
                  </a:extLst>
                </a:gridCol>
                <a:gridCol w="638355">
                  <a:extLst>
                    <a:ext uri="{9D8B030D-6E8A-4147-A177-3AD203B41FA5}">
                      <a16:colId xmlns:a16="http://schemas.microsoft.com/office/drawing/2014/main" val="2831456429"/>
                    </a:ext>
                  </a:extLst>
                </a:gridCol>
                <a:gridCol w="1274452">
                  <a:extLst>
                    <a:ext uri="{9D8B030D-6E8A-4147-A177-3AD203B41FA5}">
                      <a16:colId xmlns:a16="http://schemas.microsoft.com/office/drawing/2014/main" val="2648913833"/>
                    </a:ext>
                  </a:extLst>
                </a:gridCol>
                <a:gridCol w="693976">
                  <a:extLst>
                    <a:ext uri="{9D8B030D-6E8A-4147-A177-3AD203B41FA5}">
                      <a16:colId xmlns:a16="http://schemas.microsoft.com/office/drawing/2014/main" val="2516965371"/>
                    </a:ext>
                  </a:extLst>
                </a:gridCol>
                <a:gridCol w="745014">
                  <a:extLst>
                    <a:ext uri="{9D8B030D-6E8A-4147-A177-3AD203B41FA5}">
                      <a16:colId xmlns:a16="http://schemas.microsoft.com/office/drawing/2014/main" val="1399003598"/>
                    </a:ext>
                  </a:extLst>
                </a:gridCol>
              </a:tblGrid>
              <a:tr h="636448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Sensor/satellite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resolution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Revisit time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Spatial coverage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/>
                        <a:t>Time span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/>
                        <a:t>Swath (km)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1503118"/>
                  </a:ext>
                </a:extLst>
              </a:tr>
              <a:tr h="354442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Hive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3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16 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en-GB" sz="12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en-GB" sz="12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316714"/>
                  </a:ext>
                </a:extLst>
              </a:tr>
              <a:tr h="341211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Landsat8/9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10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16 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global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2013-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5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4859135"/>
                  </a:ext>
                </a:extLst>
              </a:tr>
              <a:tr h="289685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Ecostress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7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-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en-GB" sz="12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2018-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84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432983"/>
                  </a:ext>
                </a:extLst>
              </a:tr>
              <a:tr h="287033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ASTER/Terra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9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16 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Global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2000-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846302"/>
                  </a:ext>
                </a:extLst>
              </a:tr>
              <a:tr h="315507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MODIS/</a:t>
                      </a:r>
                      <a:r>
                        <a:rPr lang="en-GB" sz="1200" err="1"/>
                        <a:t>Aqua,Terra</a:t>
                      </a:r>
                      <a:endParaRPr lang="en-GB" sz="12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1000+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0.5 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Global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2000-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330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426965"/>
                  </a:ext>
                </a:extLst>
              </a:tr>
              <a:tr h="318101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VIIRS/</a:t>
                      </a:r>
                      <a:r>
                        <a:rPr lang="en-GB" sz="1200" err="1"/>
                        <a:t>snpp,noaa</a:t>
                      </a:r>
                      <a:endParaRPr lang="en-GB" sz="12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1000+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0.5 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global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2012-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000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631025"/>
                  </a:ext>
                </a:extLst>
              </a:tr>
              <a:tr h="289685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SLSTR/S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1000+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0.5 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global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2016-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20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0210992"/>
                  </a:ext>
                </a:extLst>
              </a:tr>
              <a:tr h="45460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SEVIRI/MSG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3000+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15 min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Africa/EU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2009-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en-GB" sz="12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6005226"/>
                  </a:ext>
                </a:extLst>
              </a:tr>
              <a:tr h="45460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ABI/GOES-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2000+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1 h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America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2010-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en-GB" sz="12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4594385"/>
                  </a:ext>
                </a:extLst>
              </a:tr>
              <a:tr h="45460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AHI/Himawari-8,9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2000+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1 h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Japan/Australia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2015-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en-GB" sz="12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826554"/>
                  </a:ext>
                </a:extLst>
              </a:tr>
              <a:tr h="45460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eosat-9</a:t>
                      </a:r>
                      <a:endParaRPr lang="en-GB" sz="12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en-GB" sz="12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en-GB" sz="12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Africa/India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en-GB" sz="12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en-GB" sz="12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4266182"/>
                  </a:ext>
                </a:extLst>
              </a:tr>
              <a:tr h="27276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LSTM * 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37/5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4 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global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2028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70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492129"/>
                  </a:ext>
                </a:extLst>
              </a:tr>
              <a:tr h="27276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TRISHNA 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57/9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3 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global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2025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100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0962820"/>
                  </a:ext>
                </a:extLst>
              </a:tr>
              <a:tr h="27276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SBG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60/9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?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global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?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en-GB" sz="1200"/>
                        <a:t>935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45250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CD3F63F-2299-EEE6-82BA-0A9BA5E4FC24}"/>
              </a:ext>
            </a:extLst>
          </p:cNvPr>
          <p:cNvSpPr txBox="1"/>
          <p:nvPr/>
        </p:nvSpPr>
        <p:spPr>
          <a:xfrm>
            <a:off x="538044" y="4674146"/>
            <a:ext cx="5385738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GB" sz="200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Fusion of high-res imagery, inc. HiVE and public missions, with coarse geostationary data to produce </a:t>
            </a:r>
            <a:r>
              <a:rPr lang="en-GB" sz="2000" b="1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hourly 30m LST data for any </a:t>
            </a:r>
            <a:r>
              <a:rPr lang="en-GB" sz="2000" b="1" err="1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AoI</a:t>
            </a:r>
            <a:r>
              <a:rPr lang="en-GB" sz="200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.</a:t>
            </a:r>
          </a:p>
          <a:p>
            <a:endParaRPr kumimoji="0" lang="en-GB" sz="2000" i="0" u="none" strike="noStrike" kern="1200" cap="none" spc="0" normalizeH="0" baseline="0" noProof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ea typeface="+mn-ea"/>
              <a:cs typeface="+mn-cs"/>
              <a:sym typeface="Wingdings" panose="05000000000000000000" pitchFamily="2" charset="2"/>
            </a:endParaRPr>
          </a:p>
          <a:p>
            <a:r>
              <a:rPr lang="en-GB" sz="200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Expected release in mid 2025.</a:t>
            </a:r>
            <a:endParaRPr kumimoji="0" lang="en-GB" sz="2000" i="0" u="none" strike="noStrike" kern="1200" cap="none" spc="0" normalizeH="0" baseline="0" noProof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76004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74FB374-176C-F9E6-311C-FC064F21F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AFDB383E-54BB-88CC-EF02-6B106E51FCA0}"/>
              </a:ext>
            </a:extLst>
          </p:cNvPr>
          <p:cNvSpPr txBox="1">
            <a:spLocks/>
          </p:cNvSpPr>
          <p:nvPr/>
        </p:nvSpPr>
        <p:spPr>
          <a:xfrm>
            <a:off x="3488453" y="2480980"/>
            <a:ext cx="11541789" cy="3607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Eina04-SemiBold" panose="02000000000000000000" pitchFamily="50" charset="0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GB" sz="2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  <a:p>
            <a:pPr algn="ctr">
              <a:defRPr/>
            </a:pPr>
            <a:endParaRPr lang="en-GB" sz="2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en-GB" sz="2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 question?</a:t>
            </a:r>
          </a:p>
        </p:txBody>
      </p:sp>
      <p:pic>
        <p:nvPicPr>
          <p:cNvPr id="3" name="Picture 4" descr="Aperçu de l’image">
            <a:extLst>
              <a:ext uri="{FF2B5EF4-FFF2-40B4-BE49-F238E27FC236}">
                <a16:creationId xmlns:a16="http://schemas.microsoft.com/office/drawing/2014/main" id="{6986FDF0-C124-BC8F-A162-D8665BCF42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692" y="1229039"/>
            <a:ext cx="6121299" cy="4085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9233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998A890-DAD1-5B3F-E2E5-45022FDD40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Abgerundetes Rechteck 33">
            <a:extLst>
              <a:ext uri="{FF2B5EF4-FFF2-40B4-BE49-F238E27FC236}">
                <a16:creationId xmlns:a16="http://schemas.microsoft.com/office/drawing/2014/main" id="{4F9E5777-F3DA-3709-4F2A-63DFC79F1F24}"/>
              </a:ext>
            </a:extLst>
          </p:cNvPr>
          <p:cNvSpPr/>
          <p:nvPr/>
        </p:nvSpPr>
        <p:spPr>
          <a:xfrm>
            <a:off x="6341618" y="1643843"/>
            <a:ext cx="5625481" cy="3680326"/>
          </a:xfrm>
          <a:prstGeom prst="roundRect">
            <a:avLst/>
          </a:prstGeom>
          <a:solidFill>
            <a:srgbClr val="FFFFFF">
              <a:alpha val="50000"/>
            </a:srgbClr>
          </a:solidFill>
          <a:ln w="12700">
            <a:solidFill>
              <a:srgbClr val="E0DFE4"/>
            </a:solidFill>
          </a:ln>
        </p:spPr>
        <p:txBody>
          <a:bodyPr vert="horz" lIns="72000" tIns="72000" rIns="72000" bIns="72000" rtlCol="0" anchor="ctr">
            <a:noAutofit/>
          </a:bodyPr>
          <a:lstStyle/>
          <a:p>
            <a:endParaRPr lang="en-V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95F825-705C-0AE3-D096-9D3EB59B243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1800" y="342521"/>
            <a:ext cx="11303496" cy="408000"/>
          </a:xfrm>
        </p:spPr>
        <p:txBody>
          <a:bodyPr/>
          <a:lstStyle/>
          <a:p>
            <a:r>
              <a:rPr lang="en-GB" sz="2400" i="0">
                <a:solidFill>
                  <a:schemeClr val="bg1"/>
                </a:solidFill>
                <a:effectLst/>
                <a:latin typeface="+mj-lt"/>
              </a:rPr>
              <a:t>Early detection of vegetative stress using our thermal imagery</a:t>
            </a:r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1028" name="Text Placeholder 1027">
            <a:extLst>
              <a:ext uri="{FF2B5EF4-FFF2-40B4-BE49-F238E27FC236}">
                <a16:creationId xmlns:a16="http://schemas.microsoft.com/office/drawing/2014/main" id="{DC52951F-D6D1-4D99-779D-01DBF082E06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264816" y="6568377"/>
            <a:ext cx="9866523" cy="273536"/>
          </a:xfrm>
        </p:spPr>
        <p:txBody>
          <a:bodyPr>
            <a:normAutofit fontScale="77500" lnSpcReduction="20000"/>
          </a:bodyPr>
          <a:lstStyle/>
          <a:p>
            <a:endParaRPr lang="en-BE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7A958AC-628F-6946-3A62-270947A090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8" r="83944" b="67163"/>
          <a:stretch/>
        </p:blipFill>
        <p:spPr bwMode="auto">
          <a:xfrm>
            <a:off x="7169938" y="2427298"/>
            <a:ext cx="1943152" cy="2003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>
            <a:extLst>
              <a:ext uri="{FF2B5EF4-FFF2-40B4-BE49-F238E27FC236}">
                <a16:creationId xmlns:a16="http://schemas.microsoft.com/office/drawing/2014/main" id="{10BA5328-7B0F-2A7B-2838-F9F976F47D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81" t="1928" r="51793" b="67163"/>
          <a:stretch/>
        </p:blipFill>
        <p:spPr bwMode="auto">
          <a:xfrm>
            <a:off x="9320102" y="2427298"/>
            <a:ext cx="1988013" cy="2003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6585DC04-AA44-9F6C-67EC-6CABE62A3E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901" y="1659447"/>
            <a:ext cx="5702693" cy="3649119"/>
          </a:xfrm>
          <a:prstGeom prst="rect">
            <a:avLst/>
          </a:prstGeom>
        </p:spPr>
      </p:pic>
      <p:sp>
        <p:nvSpPr>
          <p:cNvPr id="61" name="Round Same Side Corner Rectangle 36">
            <a:extLst>
              <a:ext uri="{FF2B5EF4-FFF2-40B4-BE49-F238E27FC236}">
                <a16:creationId xmlns:a16="http://schemas.microsoft.com/office/drawing/2014/main" id="{FDC0F332-3E77-19B9-661E-DD601F229BA6}"/>
              </a:ext>
            </a:extLst>
          </p:cNvPr>
          <p:cNvSpPr/>
          <p:nvPr/>
        </p:nvSpPr>
        <p:spPr>
          <a:xfrm rot="5400000">
            <a:off x="9002449" y="152632"/>
            <a:ext cx="304413" cy="3256541"/>
          </a:xfrm>
          <a:prstGeom prst="round2SameRect">
            <a:avLst>
              <a:gd name="adj1" fmla="val 18326"/>
              <a:gd name="adj2" fmla="val 11043"/>
            </a:avLst>
          </a:prstGeom>
          <a:solidFill>
            <a:srgbClr val="160A42"/>
          </a:solidFill>
          <a:ln w="6350">
            <a:solidFill>
              <a:srgbClr val="244277"/>
            </a:solidFill>
          </a:ln>
        </p:spPr>
        <p:txBody>
          <a:bodyPr vert="vert270" wrap="square" lIns="36000" tIns="36000" rIns="36000" bIns="3600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omaly detection</a:t>
            </a:r>
            <a:endParaRPr kumimoji="0" lang="en-VN" sz="13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4339576-D01C-C6A8-6339-112F0BB2C35F}"/>
              </a:ext>
            </a:extLst>
          </p:cNvPr>
          <p:cNvSpPr txBox="1"/>
          <p:nvPr/>
        </p:nvSpPr>
        <p:spPr>
          <a:xfrm>
            <a:off x="7341841" y="2141363"/>
            <a:ext cx="159934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b="1" i="0">
                <a:solidFill>
                  <a:srgbClr val="2B6B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DVI</a:t>
            </a:r>
            <a:endParaRPr lang="en-BE" b="1" i="0">
              <a:solidFill>
                <a:srgbClr val="2B6BD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49F9620-49BB-C46A-988E-6D5DBB3C4745}"/>
              </a:ext>
            </a:extLst>
          </p:cNvPr>
          <p:cNvSpPr txBox="1"/>
          <p:nvPr/>
        </p:nvSpPr>
        <p:spPr>
          <a:xfrm>
            <a:off x="9478314" y="2150299"/>
            <a:ext cx="159934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b="1" i="0">
                <a:solidFill>
                  <a:srgbClr val="2B6B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ST</a:t>
            </a:r>
            <a:endParaRPr lang="en-BE" b="1" i="0">
              <a:solidFill>
                <a:srgbClr val="2B6BD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4" name="Google Shape;35;p1">
            <a:extLst>
              <a:ext uri="{FF2B5EF4-FFF2-40B4-BE49-F238E27FC236}">
                <a16:creationId xmlns:a16="http://schemas.microsoft.com/office/drawing/2014/main" id="{64D0306E-A38E-3017-87C6-0841916BA244}"/>
              </a:ext>
            </a:extLst>
          </p:cNvPr>
          <p:cNvSpPr txBox="1"/>
          <p:nvPr/>
        </p:nvSpPr>
        <p:spPr>
          <a:xfrm>
            <a:off x="7107324" y="4707701"/>
            <a:ext cx="4296797" cy="2859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850" rIns="0" bIns="0" anchor="t" anchorCtr="0">
            <a:spAutoFit/>
          </a:bodyPr>
          <a:lstStyle/>
          <a:p>
            <a:pPr algn="ctr"/>
            <a:r>
              <a:rPr lang="en-US" b="1">
                <a:solidFill>
                  <a:schemeClr val="accent1">
                    <a:lumMod val="75000"/>
                  </a:schemeClr>
                </a:solidFill>
              </a:rPr>
              <a:t>LST detects earlier signs of stress</a:t>
            </a:r>
            <a:endParaRPr lang="de-DE" b="1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00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415FB7DC-6CAB-8411-E9D2-CC646FC14D70}"/>
              </a:ext>
            </a:extLst>
          </p:cNvPr>
          <p:cNvSpPr/>
          <p:nvPr/>
        </p:nvSpPr>
        <p:spPr>
          <a:xfrm rot="10800000">
            <a:off x="0" y="1524"/>
            <a:ext cx="12192001" cy="6870673"/>
          </a:xfrm>
          <a:prstGeom prst="rect">
            <a:avLst/>
          </a:prstGeom>
          <a:gradFill flip="none" rotWithShape="1">
            <a:gsLst>
              <a:gs pos="100000">
                <a:srgbClr val="150A42">
                  <a:alpha val="59000"/>
                </a:srgbClr>
              </a:gs>
              <a:gs pos="0">
                <a:srgbClr val="123774"/>
              </a:gs>
            </a:gsLst>
            <a:lin ang="16200000" scaled="1"/>
            <a:tileRect/>
          </a:gradFill>
        </p:spPr>
        <p:txBody>
          <a:bodyPr vert="horz" lIns="72000" tIns="72000" rIns="72000" bIns="7200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solidFill>
                  <a:srgbClr val="000000"/>
                </a:solidFill>
              </a:ln>
              <a:solidFill>
                <a:srgbClr val="F3F3F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CE95C2D4-826F-9B99-D9CB-7491F91FE26E}"/>
              </a:ext>
            </a:extLst>
          </p:cNvPr>
          <p:cNvSpPr txBox="1">
            <a:spLocks/>
          </p:cNvSpPr>
          <p:nvPr/>
        </p:nvSpPr>
        <p:spPr>
          <a:xfrm>
            <a:off x="7800107" y="2804635"/>
            <a:ext cx="3327423" cy="4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rgbClr val="160A4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 </a:t>
            </a:r>
            <a:r>
              <a:rPr kumimoji="0" lang="de-DE" sz="3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orld‘s</a:t>
            </a:r>
            <a:r>
              <a:rPr kumimoji="0" lang="de-DE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3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ost</a:t>
            </a:r>
            <a:r>
              <a:rPr kumimoji="0" lang="de-DE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3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ecise</a:t>
            </a:r>
            <a:r>
              <a:rPr kumimoji="0" lang="de-DE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3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emperature</a:t>
            </a:r>
            <a:r>
              <a:rPr kumimoji="0" lang="de-DE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intelligence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38B47F08-947B-FCA5-904D-1FA1C2D8C48F}"/>
              </a:ext>
            </a:extLst>
          </p:cNvPr>
          <p:cNvSpPr txBox="1">
            <a:spLocks/>
          </p:cNvSpPr>
          <p:nvPr/>
        </p:nvSpPr>
        <p:spPr>
          <a:xfrm>
            <a:off x="7800108" y="965451"/>
            <a:ext cx="3327423" cy="4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rgbClr val="160A4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stellr</a:t>
            </a:r>
            <a:r>
              <a:rPr kumimoji="0" lang="de-DE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LST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B657584E-1EB8-50AE-59B6-487954B80A5B}"/>
              </a:ext>
            </a:extLst>
          </p:cNvPr>
          <p:cNvCxnSpPr>
            <a:cxnSpLocks/>
          </p:cNvCxnSpPr>
          <p:nvPr/>
        </p:nvCxnSpPr>
        <p:spPr>
          <a:xfrm>
            <a:off x="8866907" y="2248700"/>
            <a:ext cx="128847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F00AD6B-7AC1-48B7-DBD5-BAFEB0026595}"/>
              </a:ext>
            </a:extLst>
          </p:cNvPr>
          <p:cNvGrpSpPr/>
          <p:nvPr/>
        </p:nvGrpSpPr>
        <p:grpSpPr>
          <a:xfrm>
            <a:off x="304641" y="227062"/>
            <a:ext cx="6663294" cy="6445536"/>
            <a:chOff x="247600" y="258811"/>
            <a:chExt cx="6663294" cy="6445536"/>
          </a:xfrm>
        </p:grpSpPr>
        <p:pic>
          <p:nvPicPr>
            <p:cNvPr id="5" name="Picture 4" descr="A map of a river&#10;&#10;Description automatically generated">
              <a:extLst>
                <a:ext uri="{FF2B5EF4-FFF2-40B4-BE49-F238E27FC236}">
                  <a16:creationId xmlns:a16="http://schemas.microsoft.com/office/drawing/2014/main" id="{06F35206-C45E-F6C4-686B-3BDDE37BDA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63" t="6882" r="6767" b="6731"/>
            <a:stretch/>
          </p:blipFill>
          <p:spPr>
            <a:xfrm>
              <a:off x="247600" y="258811"/>
              <a:ext cx="6663294" cy="6445536"/>
            </a:xfrm>
            <a:prstGeom prst="rect">
              <a:avLst/>
            </a:prstGeom>
          </p:spPr>
        </p:pic>
        <p:pic>
          <p:nvPicPr>
            <p:cNvPr id="12" name="Picture 11" descr="A rainbow colored line on a black background&#10;&#10;Description automatically generated">
              <a:extLst>
                <a:ext uri="{FF2B5EF4-FFF2-40B4-BE49-F238E27FC236}">
                  <a16:creationId xmlns:a16="http://schemas.microsoft.com/office/drawing/2014/main" id="{9B34054A-D405-A0EB-3695-92DD513919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4704" b="16947"/>
            <a:stretch/>
          </p:blipFill>
          <p:spPr>
            <a:xfrm>
              <a:off x="342125" y="6082749"/>
              <a:ext cx="3842793" cy="528834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3" name="Picture 12" descr="A map of a city&#10;&#10;Description automatically generated">
              <a:extLst>
                <a:ext uri="{FF2B5EF4-FFF2-40B4-BE49-F238E27FC236}">
                  <a16:creationId xmlns:a16="http://schemas.microsoft.com/office/drawing/2014/main" id="{19DAFFB4-34AF-798D-C2D4-38FF69BDB0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499" t="28497" r="33997" b="25077"/>
            <a:stretch/>
          </p:blipFill>
          <p:spPr>
            <a:xfrm>
              <a:off x="1227111" y="1814404"/>
              <a:ext cx="3689445" cy="3633005"/>
            </a:xfrm>
            <a:prstGeom prst="rect">
              <a:avLst/>
            </a:prstGeom>
            <a:ln w="28575">
              <a:solidFill>
                <a:schemeClr val="tx1"/>
              </a:solidFill>
            </a:ln>
          </p:spPr>
        </p:pic>
        <p:pic>
          <p:nvPicPr>
            <p:cNvPr id="10" name="Picture 9" descr="A map of a city&#10;&#10;Description automatically generated">
              <a:extLst>
                <a:ext uri="{FF2B5EF4-FFF2-40B4-BE49-F238E27FC236}">
                  <a16:creationId xmlns:a16="http://schemas.microsoft.com/office/drawing/2014/main" id="{4C338965-0D6C-1BF9-41C3-CC8C1E917F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494" t="19678" r="35069" b="20661"/>
            <a:stretch/>
          </p:blipFill>
          <p:spPr>
            <a:xfrm rot="19540369">
              <a:off x="2931380" y="2458798"/>
              <a:ext cx="1462470" cy="184526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4" name="Abgerundetes Rechteck 23">
              <a:extLst>
                <a:ext uri="{FF2B5EF4-FFF2-40B4-BE49-F238E27FC236}">
                  <a16:creationId xmlns:a16="http://schemas.microsoft.com/office/drawing/2014/main" id="{BF31A949-A05C-8E82-F381-F5EB7A15CF13}"/>
                </a:ext>
              </a:extLst>
            </p:cNvPr>
            <p:cNvSpPr/>
            <p:nvPr/>
          </p:nvSpPr>
          <p:spPr>
            <a:xfrm>
              <a:off x="5629202" y="370987"/>
              <a:ext cx="1150866" cy="397565"/>
            </a:xfrm>
            <a:prstGeom prst="roundRect">
              <a:avLst/>
            </a:prstGeom>
            <a:solidFill>
              <a:srgbClr val="FFFFFF">
                <a:alpha val="69804"/>
              </a:srgbClr>
            </a:solidFill>
            <a:ln>
              <a:noFill/>
            </a:ln>
          </p:spPr>
          <p:txBody>
            <a:bodyPr vert="horz" lIns="72000" tIns="72000" rIns="72000" bIns="72000" rtlCol="0" anchor="ctr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solidFill>
                      <a:srgbClr val="000000"/>
                    </a:solidFill>
                  </a:ln>
                  <a:solidFill>
                    <a:srgbClr val="160A4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ST Fusion</a:t>
              </a:r>
            </a:p>
          </p:txBody>
        </p:sp>
        <p:sp>
          <p:nvSpPr>
            <p:cNvPr id="25" name="Abgerundetes Rechteck 24">
              <a:extLst>
                <a:ext uri="{FF2B5EF4-FFF2-40B4-BE49-F238E27FC236}">
                  <a16:creationId xmlns:a16="http://schemas.microsoft.com/office/drawing/2014/main" id="{89EAAE1B-B55D-22A4-326A-46D5FA10C213}"/>
                </a:ext>
              </a:extLst>
            </p:cNvPr>
            <p:cNvSpPr/>
            <p:nvPr/>
          </p:nvSpPr>
          <p:spPr>
            <a:xfrm>
              <a:off x="1352740" y="4941472"/>
              <a:ext cx="1282770" cy="397565"/>
            </a:xfrm>
            <a:prstGeom prst="roundRect">
              <a:avLst/>
            </a:prstGeom>
            <a:solidFill>
              <a:srgbClr val="FFFFFF">
                <a:alpha val="69804"/>
              </a:srgbClr>
            </a:solidFill>
            <a:ln>
              <a:noFill/>
            </a:ln>
          </p:spPr>
          <p:txBody>
            <a:bodyPr vert="horz" lIns="72000" tIns="72000" rIns="72000" bIns="72000" rtlCol="0" anchor="ctr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solidFill>
                      <a:srgbClr val="000000"/>
                    </a:solidFill>
                  </a:ln>
                  <a:solidFill>
                    <a:srgbClr val="160A4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ST Precision</a:t>
              </a:r>
            </a:p>
          </p:txBody>
        </p:sp>
        <p:sp>
          <p:nvSpPr>
            <p:cNvPr id="26" name="Abgerundetes Rechteck 25">
              <a:extLst>
                <a:ext uri="{FF2B5EF4-FFF2-40B4-BE49-F238E27FC236}">
                  <a16:creationId xmlns:a16="http://schemas.microsoft.com/office/drawing/2014/main" id="{B48ED9D8-542A-AD9F-6F72-7FFEC3E9BE6F}"/>
                </a:ext>
              </a:extLst>
            </p:cNvPr>
            <p:cNvSpPr/>
            <p:nvPr/>
          </p:nvSpPr>
          <p:spPr>
            <a:xfrm>
              <a:off x="3064941" y="2407070"/>
              <a:ext cx="1750678" cy="397565"/>
            </a:xfrm>
            <a:prstGeom prst="roundRect">
              <a:avLst/>
            </a:prstGeom>
            <a:solidFill>
              <a:srgbClr val="FFFFFF">
                <a:alpha val="69804"/>
              </a:srgbClr>
            </a:solidFill>
            <a:ln>
              <a:noFill/>
            </a:ln>
          </p:spPr>
          <p:txBody>
            <a:bodyPr vert="horz" lIns="72000" tIns="72000" rIns="72000" bIns="72000" rtlCol="0" anchor="ctr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solidFill>
                      <a:srgbClr val="000000"/>
                    </a:solidFill>
                  </a:ln>
                  <a:solidFill>
                    <a:srgbClr val="160A4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LST Zoom</a:t>
              </a:r>
            </a:p>
          </p:txBody>
        </p:sp>
      </p:grpSp>
      <p:pic>
        <p:nvPicPr>
          <p:cNvPr id="2050" name="Picture 2" descr="Thermometer icons - 20 Free Thermometer icons | Download PNG &amp; SVG">
            <a:extLst>
              <a:ext uri="{FF2B5EF4-FFF2-40B4-BE49-F238E27FC236}">
                <a16:creationId xmlns:a16="http://schemas.microsoft.com/office/drawing/2014/main" id="{47BB2122-FEC6-4774-5832-E035CE203B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01" r="24809"/>
          <a:stretch/>
        </p:blipFill>
        <p:spPr bwMode="auto">
          <a:xfrm>
            <a:off x="6284243" y="2840070"/>
            <a:ext cx="1453662" cy="2722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61568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F0E333-DAA7-624B-FE60-157E9C0ABD0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1800" y="342521"/>
            <a:ext cx="11303496" cy="408000"/>
          </a:xfrm>
          <a:noFill/>
        </p:spPr>
        <p:txBody>
          <a:bodyPr/>
          <a:lstStyle/>
          <a:p>
            <a:r>
              <a:rPr lang="en-US"/>
              <a:t>Outline</a:t>
            </a:r>
            <a:endParaRPr lang="en-BE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AEBE027-770D-04F8-19B3-6AF33417534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16403" y="6563456"/>
            <a:ext cx="9866523" cy="273536"/>
          </a:xfrm>
        </p:spPr>
        <p:txBody>
          <a:bodyPr>
            <a:normAutofit fontScale="77500" lnSpcReduction="20000"/>
          </a:bodyPr>
          <a:lstStyle/>
          <a:p>
            <a:endParaRPr lang="en-B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399A69E-2C25-E951-498C-9EE50790E1B3}"/>
              </a:ext>
            </a:extLst>
          </p:cNvPr>
          <p:cNvSpPr txBox="1"/>
          <p:nvPr/>
        </p:nvSpPr>
        <p:spPr>
          <a:xfrm>
            <a:off x="2186024" y="1671875"/>
            <a:ext cx="8412480" cy="36009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buSzPct val="300000"/>
            </a:pPr>
            <a:r>
              <a:rPr lang="en-BE" b="1" i="0">
                <a:solidFill>
                  <a:srgbClr val="2B6B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ellr in a nutshell</a:t>
            </a:r>
          </a:p>
          <a:p>
            <a:pPr algn="l">
              <a:buSzPct val="300000"/>
            </a:pPr>
            <a:endParaRPr lang="en-BE" b="1" i="0">
              <a:solidFill>
                <a:srgbClr val="2B6BD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SzPct val="300000"/>
            </a:pPr>
            <a:endParaRPr lang="en-BE" b="1">
              <a:solidFill>
                <a:srgbClr val="2B6BD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SzPct val="300000"/>
            </a:pPr>
            <a:endParaRPr lang="en-BE" b="1" i="0">
              <a:solidFill>
                <a:srgbClr val="2B6BD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BE" b="1">
              <a:solidFill>
                <a:srgbClr val="2B6BD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BE" b="1" i="0">
                <a:solidFill>
                  <a:srgbClr val="2B6B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HiVE constellation</a:t>
            </a:r>
          </a:p>
          <a:p>
            <a:pPr algn="l"/>
            <a:endParaRPr lang="en-BE" b="1" i="0">
              <a:solidFill>
                <a:srgbClr val="2B6BD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BE" b="1">
              <a:solidFill>
                <a:srgbClr val="2B6BD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BE" b="1">
              <a:solidFill>
                <a:srgbClr val="2B6BD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BE" b="1">
              <a:solidFill>
                <a:srgbClr val="2B6BD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BE" b="1">
                <a:solidFill>
                  <a:srgbClr val="2B6B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b="1">
                <a:solidFill>
                  <a:srgbClr val="2B6B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ellr product portfolio and </a:t>
            </a:r>
            <a:r>
              <a:rPr lang="en-BE" b="1" err="1">
                <a:solidFill>
                  <a:srgbClr val="2B6B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ST</a:t>
            </a:r>
            <a:r>
              <a:rPr lang="en-BE" b="1" i="1" err="1">
                <a:solidFill>
                  <a:srgbClr val="2B6B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sion</a:t>
            </a:r>
            <a:endParaRPr lang="en-BE" b="1">
              <a:solidFill>
                <a:srgbClr val="2B6BD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BE" b="1">
              <a:solidFill>
                <a:srgbClr val="2B6BD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BE" b="1" i="0">
              <a:solidFill>
                <a:srgbClr val="2B6BD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phic 4" descr="Group success outline">
            <a:extLst>
              <a:ext uri="{FF2B5EF4-FFF2-40B4-BE49-F238E27FC236}">
                <a16:creationId xmlns:a16="http://schemas.microsoft.com/office/drawing/2014/main" id="{BC2D1C62-F37E-DCFB-1816-13283FD36C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996" y="1365069"/>
            <a:ext cx="914400" cy="914400"/>
          </a:xfrm>
          <a:prstGeom prst="rect">
            <a:avLst/>
          </a:prstGeom>
        </p:spPr>
      </p:pic>
      <p:pic>
        <p:nvPicPr>
          <p:cNvPr id="7" name="Graphic 6" descr="Satellite outline">
            <a:extLst>
              <a:ext uri="{FF2B5EF4-FFF2-40B4-BE49-F238E27FC236}">
                <a16:creationId xmlns:a16="http://schemas.microsoft.com/office/drawing/2014/main" id="{F77224D8-68D4-5D91-BB08-EC56993CB9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1996" y="2732092"/>
            <a:ext cx="914400" cy="914400"/>
          </a:xfrm>
          <a:prstGeom prst="rect">
            <a:avLst/>
          </a:prstGeom>
        </p:spPr>
      </p:pic>
      <p:pic>
        <p:nvPicPr>
          <p:cNvPr id="11" name="Graphic 10" descr="Blender outline">
            <a:extLst>
              <a:ext uri="{FF2B5EF4-FFF2-40B4-BE49-F238E27FC236}">
                <a16:creationId xmlns:a16="http://schemas.microsoft.com/office/drawing/2014/main" id="{01251ED7-AB35-6C9B-FFAB-B215E76B4AD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1996" y="4144386"/>
            <a:ext cx="914400" cy="914400"/>
          </a:xfrm>
          <a:prstGeom prst="rect">
            <a:avLst/>
          </a:prstGeom>
        </p:spPr>
      </p:pic>
      <p:sp>
        <p:nvSpPr>
          <p:cNvPr id="18" name="Rounded Rectangle 60">
            <a:extLst>
              <a:ext uri="{FF2B5EF4-FFF2-40B4-BE49-F238E27FC236}">
                <a16:creationId xmlns:a16="http://schemas.microsoft.com/office/drawing/2014/main" id="{72CF1021-9152-0194-9A75-C8BFA86E6BA9}"/>
              </a:ext>
            </a:extLst>
          </p:cNvPr>
          <p:cNvSpPr/>
          <p:nvPr/>
        </p:nvSpPr>
        <p:spPr>
          <a:xfrm>
            <a:off x="927099" y="1213589"/>
            <a:ext cx="10242903" cy="1144554"/>
          </a:xfrm>
          <a:prstGeom prst="roundRect">
            <a:avLst>
              <a:gd name="adj" fmla="val 12644"/>
            </a:avLst>
          </a:prstGeom>
          <a:noFill/>
          <a:ln>
            <a:solidFill>
              <a:srgbClr val="E0DFE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V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ounded Rectangle 60">
            <a:extLst>
              <a:ext uri="{FF2B5EF4-FFF2-40B4-BE49-F238E27FC236}">
                <a16:creationId xmlns:a16="http://schemas.microsoft.com/office/drawing/2014/main" id="{6EAAC734-0FFC-6A6B-1397-0817626EDCA6}"/>
              </a:ext>
            </a:extLst>
          </p:cNvPr>
          <p:cNvSpPr/>
          <p:nvPr/>
        </p:nvSpPr>
        <p:spPr>
          <a:xfrm>
            <a:off x="927100" y="2621449"/>
            <a:ext cx="10242904" cy="1144554"/>
          </a:xfrm>
          <a:prstGeom prst="roundRect">
            <a:avLst>
              <a:gd name="adj" fmla="val 12644"/>
            </a:avLst>
          </a:prstGeom>
          <a:noFill/>
          <a:ln>
            <a:solidFill>
              <a:srgbClr val="E0DFE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V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ounded Rectangle 60">
            <a:extLst>
              <a:ext uri="{FF2B5EF4-FFF2-40B4-BE49-F238E27FC236}">
                <a16:creationId xmlns:a16="http://schemas.microsoft.com/office/drawing/2014/main" id="{00E2D0A3-0081-5192-3298-DD0CCDB024A8}"/>
              </a:ext>
            </a:extLst>
          </p:cNvPr>
          <p:cNvSpPr/>
          <p:nvPr/>
        </p:nvSpPr>
        <p:spPr>
          <a:xfrm>
            <a:off x="960120" y="4029309"/>
            <a:ext cx="10242904" cy="1144554"/>
          </a:xfrm>
          <a:prstGeom prst="roundRect">
            <a:avLst>
              <a:gd name="adj" fmla="val 12644"/>
            </a:avLst>
          </a:prstGeom>
          <a:noFill/>
          <a:ln>
            <a:solidFill>
              <a:srgbClr val="E0DFE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V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3015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 Verbindung 6">
            <a:extLst>
              <a:ext uri="{FF2B5EF4-FFF2-40B4-BE49-F238E27FC236}">
                <a16:creationId xmlns:a16="http://schemas.microsoft.com/office/drawing/2014/main" id="{103F4DA8-1638-9C70-D52B-1E241573CE2A}"/>
              </a:ext>
            </a:extLst>
          </p:cNvPr>
          <p:cNvCxnSpPr>
            <a:cxnSpLocks/>
          </p:cNvCxnSpPr>
          <p:nvPr/>
        </p:nvCxnSpPr>
        <p:spPr>
          <a:xfrm>
            <a:off x="5820655" y="1845775"/>
            <a:ext cx="7234" cy="3171903"/>
          </a:xfrm>
          <a:prstGeom prst="line">
            <a:avLst/>
          </a:prstGeom>
          <a:ln w="25400">
            <a:solidFill>
              <a:srgbClr val="160A42"/>
            </a:solidFill>
            <a:prstDash val="solid"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60">
            <a:extLst>
              <a:ext uri="{FF2B5EF4-FFF2-40B4-BE49-F238E27FC236}">
                <a16:creationId xmlns:a16="http://schemas.microsoft.com/office/drawing/2014/main" id="{CCDA742D-59B0-2A30-3E05-CC6D710F7CAF}"/>
              </a:ext>
            </a:extLst>
          </p:cNvPr>
          <p:cNvSpPr/>
          <p:nvPr/>
        </p:nvSpPr>
        <p:spPr>
          <a:xfrm>
            <a:off x="6792903" y="596533"/>
            <a:ext cx="4713541" cy="1416602"/>
          </a:xfrm>
          <a:prstGeom prst="roundRect">
            <a:avLst>
              <a:gd name="adj" fmla="val 8364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548640" rIns="91440" bIns="45720" rtlCol="0" anchor="t"/>
          <a:lstStyle/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unch of new HiVE satellite constellation 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ts val="108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ounded Rectangle 60">
            <a:extLst>
              <a:ext uri="{FF2B5EF4-FFF2-40B4-BE49-F238E27FC236}">
                <a16:creationId xmlns:a16="http://schemas.microsoft.com/office/drawing/2014/main" id="{091208EB-51FA-6278-5192-FB207F93CFE6}"/>
              </a:ext>
            </a:extLst>
          </p:cNvPr>
          <p:cNvSpPr/>
          <p:nvPr/>
        </p:nvSpPr>
        <p:spPr>
          <a:xfrm>
            <a:off x="6769598" y="4248702"/>
            <a:ext cx="5292718" cy="1613890"/>
          </a:xfrm>
          <a:prstGeom prst="roundRect">
            <a:avLst>
              <a:gd name="adj" fmla="val 8364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548640" rIns="91440" bIns="45720" rtlCol="0" anchor="t"/>
          <a:lstStyle/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schemeClr val="bg1"/>
                </a:solidFill>
                <a:latin typeface="+mj-lt"/>
              </a:rPr>
              <a:t>Founded after five years of R&amp;D</a:t>
            </a:r>
            <a:endParaRPr kumimoji="0" lang="en-BE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New sensor tech on international space station (ISS) 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Acquisition of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ScanWorl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rt of R&amp;D work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 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6" name="Titel 2">
            <a:extLst>
              <a:ext uri="{FF2B5EF4-FFF2-40B4-BE49-F238E27FC236}">
                <a16:creationId xmlns:a16="http://schemas.microsoft.com/office/drawing/2014/main" id="{E299A1C7-3BBC-8C3F-81E3-EFFBD542447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1800" y="342521"/>
            <a:ext cx="11303496" cy="408000"/>
          </a:xfrm>
        </p:spPr>
        <p:txBody>
          <a:bodyPr>
            <a:normAutofit/>
          </a:bodyPr>
          <a:lstStyle/>
          <a:p>
            <a:r>
              <a:rPr lang="en-US" sz="2800">
                <a:solidFill>
                  <a:schemeClr val="bg1"/>
                </a:solidFill>
                <a:latin typeface="+mj-lt"/>
              </a:rPr>
              <a:t>About constellr</a:t>
            </a:r>
          </a:p>
        </p:txBody>
      </p:sp>
      <p:grpSp>
        <p:nvGrpSpPr>
          <p:cNvPr id="17" name="Gruppieren 8">
            <a:extLst>
              <a:ext uri="{FF2B5EF4-FFF2-40B4-BE49-F238E27FC236}">
                <a16:creationId xmlns:a16="http://schemas.microsoft.com/office/drawing/2014/main" id="{DAC9BE9A-8634-91EB-B408-8EE65E26F68E}"/>
              </a:ext>
            </a:extLst>
          </p:cNvPr>
          <p:cNvGrpSpPr/>
          <p:nvPr/>
        </p:nvGrpSpPr>
        <p:grpSpPr>
          <a:xfrm>
            <a:off x="5330256" y="4782803"/>
            <a:ext cx="989704" cy="989704"/>
            <a:chOff x="5325803" y="856071"/>
            <a:chExt cx="989704" cy="989704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C1B90264-8E3C-217E-8A01-C3F9089F6C73}"/>
                </a:ext>
              </a:extLst>
            </p:cNvPr>
            <p:cNvSpPr/>
            <p:nvPr/>
          </p:nvSpPr>
          <p:spPr>
            <a:xfrm>
              <a:off x="5325803" y="856071"/>
              <a:ext cx="989704" cy="989704"/>
            </a:xfrm>
            <a:prstGeom prst="ellipse">
              <a:avLst/>
            </a:prstGeom>
            <a:solidFill>
              <a:srgbClr val="150A42"/>
            </a:solidFill>
            <a:effectLst>
              <a:glow rad="381000">
                <a:schemeClr val="accent2">
                  <a:alpha val="40000"/>
                </a:schemeClr>
              </a:glow>
            </a:effectLst>
          </p:spPr>
          <p:txBody>
            <a:bodyPr vert="horz" lIns="72000" tIns="72000" rIns="72000" bIns="72000" rtlCol="0" anchor="ctr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srgbClr val="000000"/>
                  </a:solidFill>
                </a:ln>
                <a:solidFill>
                  <a:srgbClr val="160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Textplatzhalter 26">
              <a:extLst>
                <a:ext uri="{FF2B5EF4-FFF2-40B4-BE49-F238E27FC236}">
                  <a16:creationId xmlns:a16="http://schemas.microsoft.com/office/drawing/2014/main" id="{529E57EA-905C-B2FE-316A-89728D6001E4}"/>
                </a:ext>
              </a:extLst>
            </p:cNvPr>
            <p:cNvSpPr txBox="1">
              <a:spLocks/>
            </p:cNvSpPr>
            <p:nvPr/>
          </p:nvSpPr>
          <p:spPr>
            <a:xfrm>
              <a:off x="5325803" y="1226590"/>
              <a:ext cx="989704" cy="375443"/>
            </a:xfrm>
            <a:prstGeom prst="rect">
              <a:avLst/>
            </a:prstGeom>
          </p:spPr>
          <p:txBody>
            <a:bodyPr vert="horz" lIns="0" tIns="45720" rIns="0" bIns="45720" rtlCol="0" anchor="t">
              <a:noAutofit/>
            </a:bodyPr>
            <a:lstStyle>
              <a:lvl1pPr marL="307192" indent="-307192" algn="l" defTabSz="914377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+mj-lt"/>
                <a:buAutoNum type="arabicPeriod"/>
                <a:defRPr lang="de-DE" sz="1800" kern="1200" dirty="0" smtClean="0">
                  <a:solidFill>
                    <a:srgbClr val="160A4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29984" indent="-307192" algn="l" defTabSz="914377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+mj-lt"/>
                <a:buAutoNum type="alphaLcPeriod"/>
                <a:tabLst/>
                <a:defRPr lang="de-DE" sz="1800" kern="1200" dirty="0" smtClean="0">
                  <a:solidFill>
                    <a:srgbClr val="160A4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65976" indent="-307192" algn="l" defTabSz="914377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+mj-lt"/>
                <a:buAutoNum type="romanLcPeriod"/>
                <a:tabLst/>
                <a:defRPr lang="de-DE" sz="1800" kern="1200" dirty="0" smtClean="0">
                  <a:solidFill>
                    <a:srgbClr val="160A4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348766" indent="-307192" algn="l" defTabSz="914377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itchFamily="2" charset="2"/>
                <a:buChar char="-"/>
                <a:defRPr lang="de-DE" sz="1800" kern="1200" dirty="0" smtClean="0">
                  <a:solidFill>
                    <a:srgbClr val="160A4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684758" indent="-307192" algn="l" defTabSz="914377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itchFamily="2" charset="2"/>
                <a:buChar char="-"/>
                <a:defRPr lang="en-GB" sz="1800" kern="1200" dirty="0" smtClean="0">
                  <a:solidFill>
                    <a:srgbClr val="160A4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020749" indent="-307192" algn="l" defTabSz="914377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itchFamily="2" charset="2"/>
                <a:buChar char="-"/>
                <a:defRPr sz="1800" b="0" i="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2356741" indent="-307192" algn="l" defTabSz="914377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itchFamily="2" charset="2"/>
                <a:buChar char="-"/>
                <a:defRPr sz="1800" b="0" i="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2692733" indent="-307192" algn="l" defTabSz="914377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itchFamily="2" charset="2"/>
                <a:buChar char="-"/>
                <a:defRPr sz="1800" b="0" i="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3028724" indent="-307192" algn="l" defTabSz="914377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Symbol" pitchFamily="2" charset="2"/>
                <a:buChar char="-"/>
                <a:defRPr sz="1800" b="0" i="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kumimoji="0" lang="en-BE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From 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202</a:t>
              </a:r>
              <a:r>
                <a:rPr kumimoji="0" lang="en-BE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0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0" name="Gruppieren 7">
            <a:extLst>
              <a:ext uri="{FF2B5EF4-FFF2-40B4-BE49-F238E27FC236}">
                <a16:creationId xmlns:a16="http://schemas.microsoft.com/office/drawing/2014/main" id="{45F47DEB-EF2A-B5A4-3F4E-32D478344A73}"/>
              </a:ext>
            </a:extLst>
          </p:cNvPr>
          <p:cNvGrpSpPr/>
          <p:nvPr/>
        </p:nvGrpSpPr>
        <p:grpSpPr>
          <a:xfrm>
            <a:off x="5307045" y="2975013"/>
            <a:ext cx="1452613" cy="989704"/>
            <a:chOff x="5304103" y="2632503"/>
            <a:chExt cx="1452613" cy="989704"/>
          </a:xfrm>
        </p:grpSpPr>
        <p:grpSp>
          <p:nvGrpSpPr>
            <p:cNvPr id="21" name="Gruppieren 76">
              <a:extLst>
                <a:ext uri="{FF2B5EF4-FFF2-40B4-BE49-F238E27FC236}">
                  <a16:creationId xmlns:a16="http://schemas.microsoft.com/office/drawing/2014/main" id="{BD1D2E34-7CB7-AC84-56DE-228A3B9597DC}"/>
                </a:ext>
              </a:extLst>
            </p:cNvPr>
            <p:cNvGrpSpPr/>
            <p:nvPr/>
          </p:nvGrpSpPr>
          <p:grpSpPr>
            <a:xfrm>
              <a:off x="5304103" y="2632503"/>
              <a:ext cx="989704" cy="989704"/>
              <a:chOff x="8864116" y="4734660"/>
              <a:chExt cx="989704" cy="989704"/>
            </a:xfrm>
            <a:effectLst>
              <a:glow rad="381000">
                <a:schemeClr val="accent2">
                  <a:alpha val="40000"/>
                </a:schemeClr>
              </a:glow>
            </a:effectLst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6BB4439A-FE51-2299-7E14-C3A76A66D26E}"/>
                  </a:ext>
                </a:extLst>
              </p:cNvPr>
              <p:cNvSpPr/>
              <p:nvPr/>
            </p:nvSpPr>
            <p:spPr>
              <a:xfrm>
                <a:off x="8864116" y="4734660"/>
                <a:ext cx="989704" cy="989704"/>
              </a:xfrm>
              <a:prstGeom prst="ellipse">
                <a:avLst/>
              </a:prstGeom>
              <a:solidFill>
                <a:srgbClr val="150A42"/>
              </a:solidFill>
            </p:spPr>
            <p:txBody>
              <a:bodyPr vert="horz" lIns="72000" tIns="72000" rIns="72000" bIns="72000" rtlCol="0" anchor="ctr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90000"/>
                  </a:lnSpc>
                  <a:spcBef>
                    <a:spcPts val="75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solidFill>
                        <a:srgbClr val="000000"/>
                      </a:solidFill>
                    </a:ln>
                    <a:solidFill>
                      <a:srgbClr val="160A4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Z</a:t>
                </a:r>
              </a:p>
            </p:txBody>
          </p:sp>
          <p:sp>
            <p:nvSpPr>
              <p:cNvPr id="26" name="Textplatzhalter 26">
                <a:extLst>
                  <a:ext uri="{FF2B5EF4-FFF2-40B4-BE49-F238E27FC236}">
                    <a16:creationId xmlns:a16="http://schemas.microsoft.com/office/drawing/2014/main" id="{EDFFF9E4-9CEE-6321-20FA-44AEB93ABAB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887327" y="5075791"/>
                <a:ext cx="943086" cy="375443"/>
              </a:xfrm>
              <a:prstGeom prst="rect">
                <a:avLst/>
              </a:prstGeom>
            </p:spPr>
            <p:txBody>
              <a:bodyPr vert="horz" lIns="0" tIns="45720" rIns="0" bIns="45720" rtlCol="0">
                <a:noAutofit/>
              </a:bodyPr>
              <a:lstStyle>
                <a:lvl1pPr marL="307192" indent="-307192" algn="l" defTabSz="914377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+mj-lt"/>
                  <a:buAutoNum type="arabicPeriod"/>
                  <a:defRPr lang="de-DE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29984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+mj-lt"/>
                  <a:buAutoNum type="alphaLcPeriod"/>
                  <a:tabLst/>
                  <a:defRPr lang="de-DE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65976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+mj-lt"/>
                  <a:buAutoNum type="romanLcPeriod"/>
                  <a:tabLst/>
                  <a:defRPr lang="de-DE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48766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lang="de-DE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684758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lang="en-GB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020749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356741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2692733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028724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oday</a:t>
                </a:r>
              </a:p>
            </p:txBody>
          </p:sp>
        </p:grpSp>
        <p:grpSp>
          <p:nvGrpSpPr>
            <p:cNvPr id="22" name="Gruppieren 52">
              <a:extLst>
                <a:ext uri="{FF2B5EF4-FFF2-40B4-BE49-F238E27FC236}">
                  <a16:creationId xmlns:a16="http://schemas.microsoft.com/office/drawing/2014/main" id="{EDFE136D-8C04-9029-DAA3-AC8B723C9AF0}"/>
                </a:ext>
              </a:extLst>
            </p:cNvPr>
            <p:cNvGrpSpPr/>
            <p:nvPr/>
          </p:nvGrpSpPr>
          <p:grpSpPr>
            <a:xfrm rot="10800000">
              <a:off x="6218194" y="3055114"/>
              <a:ext cx="538522" cy="125316"/>
              <a:chOff x="1217989" y="2488663"/>
              <a:chExt cx="538522" cy="125316"/>
            </a:xfrm>
          </p:grpSpPr>
          <p:cxnSp>
            <p:nvCxnSpPr>
              <p:cNvPr id="23" name="Gerade Verbindung 55">
                <a:extLst>
                  <a:ext uri="{FF2B5EF4-FFF2-40B4-BE49-F238E27FC236}">
                    <a16:creationId xmlns:a16="http://schemas.microsoft.com/office/drawing/2014/main" id="{FCE221AD-5252-DFF7-0CED-C6FCEE7D6920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1217989" y="2551321"/>
                <a:ext cx="402588" cy="987"/>
              </a:xfrm>
              <a:prstGeom prst="line">
                <a:avLst/>
              </a:prstGeom>
              <a:ln w="12700">
                <a:solidFill>
                  <a:srgbClr val="ECB637"/>
                </a:solidFill>
                <a:prstDash val="solid"/>
                <a:headEnd type="none" w="med" len="med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D021DA2-EF2A-529A-B606-A11F80F93F55}"/>
                  </a:ext>
                </a:extLst>
              </p:cNvPr>
              <p:cNvSpPr/>
              <p:nvPr/>
            </p:nvSpPr>
            <p:spPr>
              <a:xfrm flipH="1">
                <a:off x="1631195" y="2488663"/>
                <a:ext cx="125316" cy="125316"/>
              </a:xfrm>
              <a:prstGeom prst="ellipse">
                <a:avLst/>
              </a:prstGeom>
              <a:solidFill>
                <a:srgbClr val="ECB637"/>
              </a:solidFill>
              <a:ln w="25400">
                <a:solidFill>
                  <a:srgbClr val="ECB637"/>
                </a:solidFill>
              </a:ln>
              <a:effectLst>
                <a:glow rad="101600">
                  <a:srgbClr val="ECB637">
                    <a:alpha val="65000"/>
                  </a:srgbClr>
                </a:glow>
              </a:effectLst>
            </p:spPr>
            <p:txBody>
              <a:bodyPr vert="horz" lIns="72000" tIns="72000" rIns="72000" bIns="72000" rtlCol="0" anchor="ctr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90000"/>
                  </a:lnSpc>
                  <a:spcBef>
                    <a:spcPts val="75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solidFill>
                      <a:srgbClr val="000000"/>
                    </a:solidFill>
                  </a:ln>
                  <a:solidFill>
                    <a:srgbClr val="160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7" name="Gruppieren 57">
            <a:extLst>
              <a:ext uri="{FF2B5EF4-FFF2-40B4-BE49-F238E27FC236}">
                <a16:creationId xmlns:a16="http://schemas.microsoft.com/office/drawing/2014/main" id="{6359CC6E-BAA0-2284-5575-38FBF747A18D}"/>
              </a:ext>
            </a:extLst>
          </p:cNvPr>
          <p:cNvGrpSpPr/>
          <p:nvPr/>
        </p:nvGrpSpPr>
        <p:grpSpPr>
          <a:xfrm rot="10800000">
            <a:off x="6248628" y="5203435"/>
            <a:ext cx="538522" cy="125316"/>
            <a:chOff x="1165783" y="2478093"/>
            <a:chExt cx="538522" cy="125316"/>
          </a:xfrm>
        </p:grpSpPr>
        <p:cxnSp>
          <p:nvCxnSpPr>
            <p:cNvPr id="28" name="Gerade Verbindung 58">
              <a:extLst>
                <a:ext uri="{FF2B5EF4-FFF2-40B4-BE49-F238E27FC236}">
                  <a16:creationId xmlns:a16="http://schemas.microsoft.com/office/drawing/2014/main" id="{62CCA661-3DA1-DDBD-563B-E1E5CE74A5B7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165783" y="2540751"/>
              <a:ext cx="402588" cy="987"/>
            </a:xfrm>
            <a:prstGeom prst="line">
              <a:avLst/>
            </a:prstGeom>
            <a:ln w="12700">
              <a:solidFill>
                <a:srgbClr val="ECB637"/>
              </a:solidFill>
              <a:prstDash val="solid"/>
              <a:headEnd type="none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246F7DE9-8D25-D219-EF7E-DA40E05481F0}"/>
                </a:ext>
              </a:extLst>
            </p:cNvPr>
            <p:cNvSpPr/>
            <p:nvPr/>
          </p:nvSpPr>
          <p:spPr>
            <a:xfrm flipH="1">
              <a:off x="1578989" y="2478093"/>
              <a:ext cx="125316" cy="125316"/>
            </a:xfrm>
            <a:prstGeom prst="ellipse">
              <a:avLst/>
            </a:prstGeom>
            <a:solidFill>
              <a:srgbClr val="ECB637"/>
            </a:solidFill>
            <a:ln w="25400">
              <a:solidFill>
                <a:srgbClr val="ECB637"/>
              </a:solidFill>
            </a:ln>
            <a:effectLst>
              <a:glow rad="101600">
                <a:srgbClr val="ECB637">
                  <a:alpha val="65000"/>
                </a:srgbClr>
              </a:glow>
            </a:effectLst>
          </p:spPr>
          <p:txBody>
            <a:bodyPr vert="horz" lIns="72000" tIns="72000" rIns="72000" bIns="72000" rtlCol="0" anchor="ctr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srgbClr val="000000"/>
                  </a:solidFill>
                </a:ln>
                <a:solidFill>
                  <a:srgbClr val="160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0" name="Gruppieren 10">
            <a:extLst>
              <a:ext uri="{FF2B5EF4-FFF2-40B4-BE49-F238E27FC236}">
                <a16:creationId xmlns:a16="http://schemas.microsoft.com/office/drawing/2014/main" id="{C7972788-7042-BC66-ACA6-93613F208B5F}"/>
              </a:ext>
            </a:extLst>
          </p:cNvPr>
          <p:cNvGrpSpPr/>
          <p:nvPr/>
        </p:nvGrpSpPr>
        <p:grpSpPr>
          <a:xfrm>
            <a:off x="5333037" y="1022105"/>
            <a:ext cx="1483119" cy="989704"/>
            <a:chOff x="5325803" y="4630629"/>
            <a:chExt cx="1483119" cy="989704"/>
          </a:xfrm>
        </p:grpSpPr>
        <p:grpSp>
          <p:nvGrpSpPr>
            <p:cNvPr id="31" name="Gruppieren 79">
              <a:extLst>
                <a:ext uri="{FF2B5EF4-FFF2-40B4-BE49-F238E27FC236}">
                  <a16:creationId xmlns:a16="http://schemas.microsoft.com/office/drawing/2014/main" id="{73E36FA0-B8DB-E580-8C5B-736F25CB3AAB}"/>
                </a:ext>
              </a:extLst>
            </p:cNvPr>
            <p:cNvGrpSpPr/>
            <p:nvPr/>
          </p:nvGrpSpPr>
          <p:grpSpPr>
            <a:xfrm>
              <a:off x="5325803" y="4630629"/>
              <a:ext cx="989704" cy="989704"/>
              <a:chOff x="8885816" y="4776395"/>
              <a:chExt cx="989704" cy="989704"/>
            </a:xfrm>
            <a:effectLst>
              <a:glow rad="381000">
                <a:schemeClr val="accent2">
                  <a:alpha val="40000"/>
                </a:schemeClr>
              </a:glow>
            </a:effectLst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C95D8D23-CCBA-DD8C-9D09-86177E6C3702}"/>
                  </a:ext>
                </a:extLst>
              </p:cNvPr>
              <p:cNvSpPr/>
              <p:nvPr/>
            </p:nvSpPr>
            <p:spPr>
              <a:xfrm>
                <a:off x="8885816" y="4776395"/>
                <a:ext cx="989704" cy="989704"/>
              </a:xfrm>
              <a:prstGeom prst="ellipse">
                <a:avLst/>
              </a:prstGeom>
              <a:solidFill>
                <a:srgbClr val="150A42"/>
              </a:solidFill>
            </p:spPr>
            <p:txBody>
              <a:bodyPr vert="horz" lIns="72000" tIns="72000" rIns="72000" bIns="72000" rtlCol="0" anchor="ctr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90000"/>
                  </a:lnSpc>
                  <a:spcBef>
                    <a:spcPts val="75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solidFill>
                      <a:srgbClr val="000000"/>
                    </a:solidFill>
                  </a:ln>
                  <a:solidFill>
                    <a:srgbClr val="160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Textplatzhalter 26">
                <a:extLst>
                  <a:ext uri="{FF2B5EF4-FFF2-40B4-BE49-F238E27FC236}">
                    <a16:creationId xmlns:a16="http://schemas.microsoft.com/office/drawing/2014/main" id="{841E02E9-89EE-13F2-F975-7283E8F482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885816" y="5083525"/>
                <a:ext cx="989704" cy="375443"/>
              </a:xfrm>
              <a:prstGeom prst="rect">
                <a:avLst/>
              </a:prstGeom>
            </p:spPr>
            <p:txBody>
              <a:bodyPr vert="horz" lIns="0" tIns="45720" rIns="0" bIns="45720" rtlCol="0">
                <a:noAutofit/>
              </a:bodyPr>
              <a:lstStyle>
                <a:lvl1pPr marL="307192" indent="-307192" algn="l" defTabSz="914377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+mj-lt"/>
                  <a:buAutoNum type="arabicPeriod"/>
                  <a:defRPr lang="de-DE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29984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+mj-lt"/>
                  <a:buAutoNum type="alphaLcPeriod"/>
                  <a:tabLst/>
                  <a:defRPr lang="de-DE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65976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+mj-lt"/>
                  <a:buAutoNum type="romanLcPeriod"/>
                  <a:tabLst/>
                  <a:defRPr lang="de-DE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48766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lang="de-DE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684758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lang="en-GB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020749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356741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2692733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028724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202</a:t>
                </a:r>
                <a:r>
                  <a:rPr kumimoji="0" lang="en-B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5</a:t>
                </a:r>
                <a:endPara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6" name="Gruppieren 60">
              <a:extLst>
                <a:ext uri="{FF2B5EF4-FFF2-40B4-BE49-F238E27FC236}">
                  <a16:creationId xmlns:a16="http://schemas.microsoft.com/office/drawing/2014/main" id="{2229ED5D-9431-7548-AADF-8FA33BF93865}"/>
                </a:ext>
              </a:extLst>
            </p:cNvPr>
            <p:cNvGrpSpPr/>
            <p:nvPr/>
          </p:nvGrpSpPr>
          <p:grpSpPr>
            <a:xfrm rot="10800000">
              <a:off x="6270400" y="5042766"/>
              <a:ext cx="538522" cy="125316"/>
              <a:chOff x="1165783" y="2478093"/>
              <a:chExt cx="538522" cy="125316"/>
            </a:xfrm>
          </p:grpSpPr>
          <p:cxnSp>
            <p:nvCxnSpPr>
              <p:cNvPr id="50" name="Gerade Verbindung 65">
                <a:extLst>
                  <a:ext uri="{FF2B5EF4-FFF2-40B4-BE49-F238E27FC236}">
                    <a16:creationId xmlns:a16="http://schemas.microsoft.com/office/drawing/2014/main" id="{DE40AA52-C8C1-6047-A007-E709B3D0F138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1165783" y="2540751"/>
                <a:ext cx="402588" cy="987"/>
              </a:xfrm>
              <a:prstGeom prst="line">
                <a:avLst/>
              </a:prstGeom>
              <a:ln w="12700">
                <a:solidFill>
                  <a:srgbClr val="ECB637"/>
                </a:solidFill>
                <a:prstDash val="solid"/>
                <a:headEnd type="none" w="med" len="med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A963AF45-BB6E-DAC2-3348-0FD2DFDFFCA6}"/>
                  </a:ext>
                </a:extLst>
              </p:cNvPr>
              <p:cNvSpPr/>
              <p:nvPr/>
            </p:nvSpPr>
            <p:spPr>
              <a:xfrm flipH="1">
                <a:off x="1578989" y="2478093"/>
                <a:ext cx="125316" cy="125316"/>
              </a:xfrm>
              <a:prstGeom prst="ellipse">
                <a:avLst/>
              </a:prstGeom>
              <a:solidFill>
                <a:srgbClr val="ECB637"/>
              </a:solidFill>
              <a:ln w="25400">
                <a:solidFill>
                  <a:srgbClr val="ECB637"/>
                </a:solidFill>
              </a:ln>
              <a:effectLst>
                <a:glow rad="101600">
                  <a:srgbClr val="ECB637">
                    <a:alpha val="65000"/>
                  </a:srgbClr>
                </a:glow>
              </a:effectLst>
            </p:spPr>
            <p:txBody>
              <a:bodyPr vert="horz" lIns="72000" tIns="72000" rIns="72000" bIns="72000" rtlCol="0" anchor="ctr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90000"/>
                  </a:lnSpc>
                  <a:spcBef>
                    <a:spcPts val="75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solidFill>
                      <a:srgbClr val="000000"/>
                    </a:solidFill>
                  </a:ln>
                  <a:solidFill>
                    <a:srgbClr val="160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67" name="Gruppieren 31">
            <a:extLst>
              <a:ext uri="{FF2B5EF4-FFF2-40B4-BE49-F238E27FC236}">
                <a16:creationId xmlns:a16="http://schemas.microsoft.com/office/drawing/2014/main" id="{45B8A36F-27F6-D2EA-F1A4-3838336CD0ED}"/>
              </a:ext>
            </a:extLst>
          </p:cNvPr>
          <p:cNvGrpSpPr/>
          <p:nvPr/>
        </p:nvGrpSpPr>
        <p:grpSpPr>
          <a:xfrm>
            <a:off x="1365530" y="2121907"/>
            <a:ext cx="2617426" cy="2688402"/>
            <a:chOff x="3689842" y="3433129"/>
            <a:chExt cx="2832952" cy="2909772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78CCBB4-439E-3B2A-95EF-2A6748D8387E}"/>
                </a:ext>
              </a:extLst>
            </p:cNvPr>
            <p:cNvSpPr/>
            <p:nvPr/>
          </p:nvSpPr>
          <p:spPr>
            <a:xfrm>
              <a:off x="3689842" y="3524889"/>
              <a:ext cx="2818012" cy="2818012"/>
            </a:xfrm>
            <a:prstGeom prst="ellipse">
              <a:avLst/>
            </a:prstGeom>
            <a:solidFill>
              <a:schemeClr val="tx2"/>
            </a:solidFill>
            <a:effectLst>
              <a:glow rad="127000">
                <a:srgbClr val="ECB637"/>
              </a:glow>
            </a:effectLst>
          </p:spPr>
          <p:txBody>
            <a:bodyPr vert="horz" lIns="72000" tIns="72000" rIns="72000" bIns="72000" rtlCol="0" anchor="ctr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srgbClr val="000000"/>
                  </a:solidFill>
                </a:ln>
                <a:solidFill>
                  <a:srgbClr val="160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Rounded Rectangle 60">
              <a:extLst>
                <a:ext uri="{FF2B5EF4-FFF2-40B4-BE49-F238E27FC236}">
                  <a16:creationId xmlns:a16="http://schemas.microsoft.com/office/drawing/2014/main" id="{17F43824-3761-BC1E-750F-CAF06AE23F5B}"/>
                </a:ext>
              </a:extLst>
            </p:cNvPr>
            <p:cNvSpPr/>
            <p:nvPr/>
          </p:nvSpPr>
          <p:spPr>
            <a:xfrm>
              <a:off x="3708819" y="3433129"/>
              <a:ext cx="2813975" cy="2398008"/>
            </a:xfrm>
            <a:prstGeom prst="roundRect">
              <a:avLst>
                <a:gd name="adj" fmla="val 8364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548640" rIns="91440" bIns="45720" rtlCol="0" anchor="t"/>
            <a:lstStyle/>
            <a:p>
              <a:pPr marL="7620" marR="0" lvl="0" indent="0" algn="ctr" defTabSz="914377" rtl="0" eaLnBrk="1" fontAlgn="auto" latinLnBrk="0" hangingPunct="1">
                <a:lnSpc>
                  <a:spcPct val="150000"/>
                </a:lnSpc>
                <a:spcBef>
                  <a:spcPts val="6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ission </a:t>
              </a:r>
              <a:r>
                <a:rPr kumimoji="0" lang="en-B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: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algn="ctr"/>
              <a:r>
                <a:rPr lang="en-BE" sz="1400">
                  <a:solidFill>
                    <a:schemeClr val="bg1"/>
                  </a:solidFill>
                  <a:latin typeface="+mj-lt"/>
                </a:rPr>
                <a:t>Measure </a:t>
              </a:r>
              <a:r>
                <a:rPr lang="en-US" sz="1400">
                  <a:solidFill>
                    <a:schemeClr val="bg1"/>
                  </a:solidFill>
                  <a:latin typeface="+mj-lt"/>
                </a:rPr>
                <a:t>temperature</a:t>
              </a:r>
              <a:r>
                <a:rPr lang="en-BE" sz="1400">
                  <a:solidFill>
                    <a:schemeClr val="bg1"/>
                  </a:solidFill>
                  <a:latin typeface="+mj-lt"/>
                </a:rPr>
                <a:t>s</a:t>
              </a:r>
              <a:r>
                <a:rPr lang="en-US" sz="1400">
                  <a:solidFill>
                    <a:schemeClr val="bg1"/>
                  </a:solidFill>
                  <a:latin typeface="+mj-lt"/>
                </a:rPr>
                <a:t> from space to support food security</a:t>
              </a:r>
              <a:r>
                <a:rPr lang="en-BE" sz="1400">
                  <a:solidFill>
                    <a:schemeClr val="bg1"/>
                  </a:solidFill>
                  <a:latin typeface="+mj-lt"/>
                </a:rPr>
                <a:t> and provide insights for 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better resource accountability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MT"/>
                  <a:ea typeface="+mn-ea"/>
                  <a:cs typeface="+mn-cs"/>
                </a:rPr>
                <a:t> 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1" name="Gruppieren 34">
            <a:extLst>
              <a:ext uri="{FF2B5EF4-FFF2-40B4-BE49-F238E27FC236}">
                <a16:creationId xmlns:a16="http://schemas.microsoft.com/office/drawing/2014/main" id="{BFB90564-5662-C2B7-1E25-4BD884444A5A}"/>
              </a:ext>
            </a:extLst>
          </p:cNvPr>
          <p:cNvGrpSpPr/>
          <p:nvPr/>
        </p:nvGrpSpPr>
        <p:grpSpPr>
          <a:xfrm>
            <a:off x="1157502" y="1824862"/>
            <a:ext cx="3027623" cy="3192816"/>
            <a:chOff x="2106020" y="1864414"/>
            <a:chExt cx="3027623" cy="3192816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75AF20C5-06A1-27DB-58F6-03AD647D4F8F}"/>
                </a:ext>
              </a:extLst>
            </p:cNvPr>
            <p:cNvSpPr/>
            <p:nvPr/>
          </p:nvSpPr>
          <p:spPr>
            <a:xfrm>
              <a:off x="2106020" y="2029607"/>
              <a:ext cx="3027623" cy="3027623"/>
            </a:xfrm>
            <a:prstGeom prst="ellipse">
              <a:avLst/>
            </a:prstGeom>
            <a:noFill/>
            <a:ln w="12700">
              <a:solidFill>
                <a:srgbClr val="FFC000"/>
              </a:solidFill>
            </a:ln>
            <a:effectLst>
              <a:glow>
                <a:srgbClr val="FFC000"/>
              </a:glow>
            </a:effectLst>
          </p:spPr>
          <p:txBody>
            <a:bodyPr vert="horz" lIns="72000" tIns="72000" rIns="72000" bIns="72000" rtlCol="0" anchor="ctr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srgbClr val="000000"/>
                  </a:solidFill>
                </a:ln>
                <a:solidFill>
                  <a:srgbClr val="160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83" name="Gruppieren 36">
              <a:extLst>
                <a:ext uri="{FF2B5EF4-FFF2-40B4-BE49-F238E27FC236}">
                  <a16:creationId xmlns:a16="http://schemas.microsoft.com/office/drawing/2014/main" id="{B0BD6E9E-2535-AFC3-9250-B839516EE667}"/>
                </a:ext>
              </a:extLst>
            </p:cNvPr>
            <p:cNvGrpSpPr/>
            <p:nvPr/>
          </p:nvGrpSpPr>
          <p:grpSpPr>
            <a:xfrm>
              <a:off x="2159398" y="2670780"/>
              <a:ext cx="258163" cy="258163"/>
              <a:chOff x="1667626" y="2461585"/>
              <a:chExt cx="258163" cy="258163"/>
            </a:xfrm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4A194F-1C45-E6D8-B2F4-E1162FB35F41}"/>
                  </a:ext>
                </a:extLst>
              </p:cNvPr>
              <p:cNvSpPr/>
              <p:nvPr/>
            </p:nvSpPr>
            <p:spPr>
              <a:xfrm>
                <a:off x="1667626" y="2461585"/>
                <a:ext cx="258163" cy="25816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rIns="91440"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91" name="Grafik 44" descr="Thermometer mit einfarbiger Füllung">
                <a:extLst>
                  <a:ext uri="{FF2B5EF4-FFF2-40B4-BE49-F238E27FC236}">
                    <a16:creationId xmlns:a16="http://schemas.microsoft.com/office/drawing/2014/main" id="{2A1D826F-7CC5-6C41-C777-486059F116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698175" y="2488107"/>
                <a:ext cx="209382" cy="209382"/>
              </a:xfrm>
              <a:prstGeom prst="rect">
                <a:avLst/>
              </a:prstGeom>
            </p:spPr>
          </p:pic>
        </p:grpSp>
        <p:grpSp>
          <p:nvGrpSpPr>
            <p:cNvPr id="84" name="Gruppieren 37">
              <a:extLst>
                <a:ext uri="{FF2B5EF4-FFF2-40B4-BE49-F238E27FC236}">
                  <a16:creationId xmlns:a16="http://schemas.microsoft.com/office/drawing/2014/main" id="{F0F529DF-8002-488E-A38E-CBBEF5942E2C}"/>
                </a:ext>
              </a:extLst>
            </p:cNvPr>
            <p:cNvGrpSpPr/>
            <p:nvPr/>
          </p:nvGrpSpPr>
          <p:grpSpPr>
            <a:xfrm>
              <a:off x="3508799" y="1864414"/>
              <a:ext cx="258163" cy="258163"/>
              <a:chOff x="1667626" y="2798813"/>
              <a:chExt cx="258163" cy="258163"/>
            </a:xfrm>
          </p:grpSpPr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CBCC1A23-0D97-A697-0785-F24F6D3461BF}"/>
                  </a:ext>
                </a:extLst>
              </p:cNvPr>
              <p:cNvSpPr/>
              <p:nvPr/>
            </p:nvSpPr>
            <p:spPr>
              <a:xfrm>
                <a:off x="1667626" y="2798813"/>
                <a:ext cx="258163" cy="25816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rIns="91440"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89" name="Picture 246">
                <a:extLst>
                  <a:ext uri="{FF2B5EF4-FFF2-40B4-BE49-F238E27FC236}">
                    <a16:creationId xmlns:a16="http://schemas.microsoft.com/office/drawing/2014/main" id="{4BA67FE4-A12D-382A-4961-6A36EB832E04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1"/>
                </p:custDataLst>
              </p:nvPr>
            </p:nvPicPr>
            <p:blipFill>
              <a:blip r:embed="rId7" cstate="print">
                <a:biLevel thresh="50000"/>
                <a:lum bright="20000" contrast="2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759662" y="2837696"/>
                <a:ext cx="86410" cy="1658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85" name="Gruppieren 38">
              <a:extLst>
                <a:ext uri="{FF2B5EF4-FFF2-40B4-BE49-F238E27FC236}">
                  <a16:creationId xmlns:a16="http://schemas.microsoft.com/office/drawing/2014/main" id="{BA05EAF8-65A5-406A-854A-2B77374253CF}"/>
                </a:ext>
              </a:extLst>
            </p:cNvPr>
            <p:cNvGrpSpPr/>
            <p:nvPr/>
          </p:nvGrpSpPr>
          <p:grpSpPr>
            <a:xfrm>
              <a:off x="4845500" y="2693381"/>
              <a:ext cx="258168" cy="258163"/>
              <a:chOff x="1667621" y="3130541"/>
              <a:chExt cx="258168" cy="258163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EDFE72B9-2441-8685-66BC-EC9FE72B129D}"/>
                  </a:ext>
                </a:extLst>
              </p:cNvPr>
              <p:cNvSpPr/>
              <p:nvPr/>
            </p:nvSpPr>
            <p:spPr>
              <a:xfrm>
                <a:off x="1667626" y="3130541"/>
                <a:ext cx="258163" cy="25816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rIns="91440"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7" name="Textplatzhalter 26">
                <a:extLst>
                  <a:ext uri="{FF2B5EF4-FFF2-40B4-BE49-F238E27FC236}">
                    <a16:creationId xmlns:a16="http://schemas.microsoft.com/office/drawing/2014/main" id="{2DD950D5-4B4A-B5AA-B740-71A4226F1E8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67621" y="3149198"/>
                <a:ext cx="258163" cy="175648"/>
              </a:xfrm>
              <a:prstGeom prst="rect">
                <a:avLst/>
              </a:prstGeom>
            </p:spPr>
            <p:txBody>
              <a:bodyPr vert="horz" lIns="0" tIns="45720" rIns="0" bIns="45720" rtlCol="0">
                <a:noAutofit/>
              </a:bodyPr>
              <a:lstStyle>
                <a:lvl1pPr marL="307192" indent="-307192" algn="l" defTabSz="914377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+mj-lt"/>
                  <a:buAutoNum type="arabicPeriod"/>
                  <a:defRPr lang="de-DE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29984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+mj-lt"/>
                  <a:buAutoNum type="alphaLcPeriod"/>
                  <a:tabLst/>
                  <a:defRPr lang="de-DE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65976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+mj-lt"/>
                  <a:buAutoNum type="romanLcPeriod"/>
                  <a:tabLst/>
                  <a:defRPr lang="de-DE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48766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lang="de-DE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684758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lang="en-GB" sz="1800" kern="1200" dirty="0" smtClean="0">
                    <a:solidFill>
                      <a:srgbClr val="160A4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020749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356741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2692733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028724" indent="-307192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Font typeface="Symbol" pitchFamily="2" charset="2"/>
                  <a:buChar char="-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2</a:t>
                </a:r>
              </a:p>
            </p:txBody>
          </p:sp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056B9C75-3A2E-AFBA-83B6-C81436707088}"/>
              </a:ext>
            </a:extLst>
          </p:cNvPr>
          <p:cNvSpPr txBox="1"/>
          <p:nvPr/>
        </p:nvSpPr>
        <p:spPr>
          <a:xfrm>
            <a:off x="7353300" y="2870200"/>
            <a:ext cx="65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60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1" name="Rounded Rectangle 60">
            <a:extLst>
              <a:ext uri="{FF2B5EF4-FFF2-40B4-BE49-F238E27FC236}">
                <a16:creationId xmlns:a16="http://schemas.microsoft.com/office/drawing/2014/main" id="{5EB58C8A-CBF8-14B7-1BA6-27E022AD05B3}"/>
              </a:ext>
            </a:extLst>
          </p:cNvPr>
          <p:cNvSpPr/>
          <p:nvPr/>
        </p:nvSpPr>
        <p:spPr>
          <a:xfrm>
            <a:off x="6769598" y="2346494"/>
            <a:ext cx="4687217" cy="1416602"/>
          </a:xfrm>
          <a:prstGeom prst="roundRect">
            <a:avLst>
              <a:gd name="adj" fmla="val 8364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548640" rIns="91440" bIns="45720" rtlCol="0" anchor="t"/>
          <a:lstStyle/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unch of LST product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mily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0+ employees </a:t>
            </a:r>
            <a:endParaRPr kumimoji="0" lang="en-BE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BE" sz="1400">
                <a:solidFill>
                  <a:srgbClr val="FFFFFF"/>
                </a:solidFill>
                <a:latin typeface="Arial" panose="020B0604020202020204"/>
              </a:rPr>
              <a:t>Offices in Germany, Belgium, France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285750" indent="-28575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nationalisation to US and Brazil </a:t>
            </a:r>
            <a:endParaRPr kumimoji="0" lang="en-BE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indent="-28575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kumimoji="0" lang="en-B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Copernicus Contributing Mission and strong support from ESA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65968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48" descr="A picture containing grass, cloud, outdoor, sky&#10;&#10;Description automatically generated">
            <a:extLst>
              <a:ext uri="{FF2B5EF4-FFF2-40B4-BE49-F238E27FC236}">
                <a16:creationId xmlns:a16="http://schemas.microsoft.com/office/drawing/2014/main" id="{8BC8EE9D-AB73-4746-A578-CA8B88DA4B8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602" y="0"/>
            <a:ext cx="12191999" cy="6850130"/>
          </a:xfrm>
          <a:prstGeom prst="rect">
            <a:avLst/>
          </a:prstGeom>
          <a:gradFill>
            <a:gsLst>
              <a:gs pos="92000">
                <a:srgbClr val="160A42">
                  <a:alpha val="53000"/>
                </a:srgbClr>
              </a:gs>
              <a:gs pos="79000">
                <a:srgbClr val="123774">
                  <a:alpha val="60000"/>
                </a:srgbClr>
              </a:gs>
            </a:gsLst>
            <a:lin ang="16200000" scaled="1"/>
          </a:gradFill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4D7F6C33-B85D-9747-937D-7C667BE08418}"/>
              </a:ext>
            </a:extLst>
          </p:cNvPr>
          <p:cNvSpPr/>
          <p:nvPr/>
        </p:nvSpPr>
        <p:spPr>
          <a:xfrm rot="10800000">
            <a:off x="-13296" y="0"/>
            <a:ext cx="12192000" cy="6829232"/>
          </a:xfrm>
          <a:prstGeom prst="rect">
            <a:avLst/>
          </a:prstGeom>
          <a:gradFill flip="none" rotWithShape="1">
            <a:gsLst>
              <a:gs pos="100000">
                <a:srgbClr val="150A42">
                  <a:alpha val="17000"/>
                </a:srgbClr>
              </a:gs>
              <a:gs pos="0">
                <a:srgbClr val="123774"/>
              </a:gs>
            </a:gsLst>
            <a:lin ang="16200000" scaled="1"/>
            <a:tileRect/>
          </a:gradFill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e-DE" sz="1800">
              <a:ln>
                <a:solidFill>
                  <a:srgbClr val="000000"/>
                </a:solidFill>
              </a:ln>
              <a:solidFill>
                <a:srgbClr val="160A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4339249E-90A2-B24A-A44D-A6551179C156}"/>
              </a:ext>
            </a:extLst>
          </p:cNvPr>
          <p:cNvSpPr/>
          <p:nvPr/>
        </p:nvSpPr>
        <p:spPr>
          <a:xfrm rot="16200000">
            <a:off x="4045461" y="1697611"/>
            <a:ext cx="393657" cy="8484581"/>
          </a:xfrm>
          <a:prstGeom prst="rect">
            <a:avLst/>
          </a:prstGeom>
          <a:gradFill>
            <a:gsLst>
              <a:gs pos="0">
                <a:srgbClr val="45D4F6"/>
              </a:gs>
              <a:gs pos="97000">
                <a:srgbClr val="2C6ED9"/>
              </a:gs>
            </a:gsLst>
            <a:lin ang="5400000" scaled="1"/>
          </a:gradFill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endPos="50000" dist="254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Google Shape;35;p1">
            <a:extLst>
              <a:ext uri="{FF2B5EF4-FFF2-40B4-BE49-F238E27FC236}">
                <a16:creationId xmlns:a16="http://schemas.microsoft.com/office/drawing/2014/main" id="{E09D6A7F-7D5D-E248-99A7-FE3B2ADCF2DF}"/>
              </a:ext>
            </a:extLst>
          </p:cNvPr>
          <p:cNvSpPr txBox="1"/>
          <p:nvPr/>
        </p:nvSpPr>
        <p:spPr>
          <a:xfrm>
            <a:off x="300038" y="262379"/>
            <a:ext cx="11651817" cy="778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850" rIns="0" bIns="0" anchor="t" anchorCtr="0">
            <a:spAutoFit/>
          </a:bodyPr>
          <a:lstStyle/>
          <a:p>
            <a:r>
              <a:rPr lang="en-US" sz="2500" b="1">
                <a:solidFill>
                  <a:schemeClr val="bg1"/>
                </a:solidFill>
              </a:rPr>
              <a:t>Why we do it:</a:t>
            </a:r>
          </a:p>
          <a:p>
            <a:r>
              <a:rPr lang="en-US" sz="2500" b="1">
                <a:solidFill>
                  <a:schemeClr val="bg1"/>
                </a:solidFill>
              </a:rPr>
              <a:t>Agriculture is key to addressing the combined carbon and water challenges</a:t>
            </a:r>
            <a:endParaRPr lang="de-DE" sz="2500" b="1">
              <a:solidFill>
                <a:schemeClr val="bg1"/>
              </a:solidFill>
            </a:endParaRPr>
          </a:p>
        </p:txBody>
      </p:sp>
      <p:sp>
        <p:nvSpPr>
          <p:cNvPr id="19" name="Google Shape;35;p1">
            <a:extLst>
              <a:ext uri="{FF2B5EF4-FFF2-40B4-BE49-F238E27FC236}">
                <a16:creationId xmlns:a16="http://schemas.microsoft.com/office/drawing/2014/main" id="{CCCD7A34-366E-BB41-860D-A61B9474EF1A}"/>
              </a:ext>
            </a:extLst>
          </p:cNvPr>
          <p:cNvSpPr txBox="1"/>
          <p:nvPr/>
        </p:nvSpPr>
        <p:spPr>
          <a:xfrm>
            <a:off x="318335" y="5773887"/>
            <a:ext cx="9528052" cy="316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850" rIns="0" bIns="0" anchor="t" anchorCtr="0">
            <a:spAutoFit/>
          </a:bodyPr>
          <a:lstStyle/>
          <a:p>
            <a:r>
              <a:rPr lang="en-US" sz="2000" b="1">
                <a:solidFill>
                  <a:schemeClr val="bg1"/>
                </a:solidFill>
              </a:rPr>
              <a:t>That is why </a:t>
            </a:r>
            <a:r>
              <a:rPr lang="en-US" sz="2000" b="1" err="1">
                <a:solidFill>
                  <a:schemeClr val="bg1"/>
                </a:solidFill>
              </a:rPr>
              <a:t>constellr’s</a:t>
            </a:r>
            <a:r>
              <a:rPr lang="en-US" sz="2000" b="1">
                <a:solidFill>
                  <a:schemeClr val="bg1"/>
                </a:solidFill>
              </a:rPr>
              <a:t> primary focus is on agriculture. 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1B03A01E-9582-9F40-BE67-835512A01742}"/>
              </a:ext>
            </a:extLst>
          </p:cNvPr>
          <p:cNvSpPr/>
          <p:nvPr/>
        </p:nvSpPr>
        <p:spPr>
          <a:xfrm>
            <a:off x="1797226" y="4830210"/>
            <a:ext cx="748617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000">
                <a:solidFill>
                  <a:schemeClr val="bg1"/>
                </a:solidFill>
              </a:rPr>
              <a:t>The result: </a:t>
            </a:r>
            <a:br>
              <a:rPr lang="en-US" sz="2000">
                <a:solidFill>
                  <a:schemeClr val="bg1"/>
                </a:solidFill>
              </a:rPr>
            </a:br>
            <a:r>
              <a:rPr lang="en-US" sz="2000" b="1">
                <a:solidFill>
                  <a:schemeClr val="bg1"/>
                </a:solidFill>
              </a:rPr>
              <a:t>additional challenges in terms of water and carbon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63F752F-432E-B741-AACE-358C0CF1C016}"/>
              </a:ext>
            </a:extLst>
          </p:cNvPr>
          <p:cNvSpPr/>
          <p:nvPr/>
        </p:nvSpPr>
        <p:spPr>
          <a:xfrm>
            <a:off x="7671047" y="2035756"/>
            <a:ext cx="2433275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600">
                <a:solidFill>
                  <a:schemeClr val="bg1"/>
                </a:solidFill>
              </a:rPr>
              <a:t>Global food </a:t>
            </a:r>
          </a:p>
          <a:p>
            <a:pPr lvl="0" algn="ctr"/>
            <a:r>
              <a:rPr lang="en-US" sz="1600">
                <a:solidFill>
                  <a:schemeClr val="bg1"/>
                </a:solidFill>
              </a:rPr>
              <a:t>production </a:t>
            </a:r>
            <a:br>
              <a:rPr lang="en-US" sz="1600">
                <a:solidFill>
                  <a:schemeClr val="bg1"/>
                </a:solidFill>
              </a:rPr>
            </a:br>
            <a:r>
              <a:rPr lang="en-US" sz="1600">
                <a:solidFill>
                  <a:schemeClr val="bg1"/>
                </a:solidFill>
              </a:rPr>
              <a:t>by 2050: </a:t>
            </a:r>
          </a:p>
          <a:p>
            <a:pPr lvl="0" algn="ctr"/>
            <a:endParaRPr lang="en-US" sz="1600">
              <a:solidFill>
                <a:schemeClr val="bg1"/>
              </a:solidFill>
            </a:endParaRPr>
          </a:p>
          <a:p>
            <a:pPr lvl="0" algn="ctr"/>
            <a:r>
              <a:rPr lang="en-US" sz="4400" b="1">
                <a:solidFill>
                  <a:schemeClr val="bg1"/>
                </a:solidFill>
              </a:rPr>
              <a:t>60% </a:t>
            </a:r>
            <a:r>
              <a:rPr lang="en-US" sz="2000" b="1">
                <a:solidFill>
                  <a:schemeClr val="bg1"/>
                </a:solidFill>
              </a:rPr>
              <a:t>increase </a:t>
            </a:r>
          </a:p>
          <a:p>
            <a:pPr lvl="0" algn="ctr"/>
            <a:r>
              <a:rPr lang="en-US" sz="2000" b="1">
                <a:solidFill>
                  <a:schemeClr val="bg1"/>
                </a:solidFill>
              </a:rPr>
              <a:t>required</a:t>
            </a:r>
            <a:endParaRPr lang="de-DE" sz="2000" b="1">
              <a:solidFill>
                <a:schemeClr val="bg1"/>
              </a:solidFill>
            </a:endParaRPr>
          </a:p>
        </p:txBody>
      </p:sp>
      <p:pic>
        <p:nvPicPr>
          <p:cNvPr id="12" name="Grafik 11" descr="Wiedergeben">
            <a:extLst>
              <a:ext uri="{FF2B5EF4-FFF2-40B4-BE49-F238E27FC236}">
                <a16:creationId xmlns:a16="http://schemas.microsoft.com/office/drawing/2014/main" id="{69891044-2D25-F041-8FE8-8F647B084E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334547" y="4864307"/>
            <a:ext cx="393657" cy="393657"/>
          </a:xfrm>
          <a:prstGeom prst="rect">
            <a:avLst/>
          </a:prstGeom>
        </p:spPr>
      </p:pic>
      <p:sp>
        <p:nvSpPr>
          <p:cNvPr id="211" name="Rechteck 210">
            <a:extLst>
              <a:ext uri="{FF2B5EF4-FFF2-40B4-BE49-F238E27FC236}">
                <a16:creationId xmlns:a16="http://schemas.microsoft.com/office/drawing/2014/main" id="{63F7D8DE-7BAE-D249-BC4F-ABE0AE14C2AD}"/>
              </a:ext>
            </a:extLst>
          </p:cNvPr>
          <p:cNvSpPr/>
          <p:nvPr/>
        </p:nvSpPr>
        <p:spPr>
          <a:xfrm>
            <a:off x="7431579" y="1541110"/>
            <a:ext cx="2865250" cy="3077383"/>
          </a:xfrm>
          <a:prstGeom prst="rect">
            <a:avLst/>
          </a:prstGeom>
          <a:solidFill>
            <a:schemeClr val="bg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4" name="Gruppieren 183">
            <a:extLst>
              <a:ext uri="{FF2B5EF4-FFF2-40B4-BE49-F238E27FC236}">
                <a16:creationId xmlns:a16="http://schemas.microsoft.com/office/drawing/2014/main" id="{6B40987A-1890-1948-B3CC-74A487F79E54}"/>
              </a:ext>
            </a:extLst>
          </p:cNvPr>
          <p:cNvGrpSpPr/>
          <p:nvPr/>
        </p:nvGrpSpPr>
        <p:grpSpPr>
          <a:xfrm>
            <a:off x="8444301" y="1081527"/>
            <a:ext cx="839097" cy="839098"/>
            <a:chOff x="9350612" y="-748609"/>
            <a:chExt cx="991549" cy="991549"/>
          </a:xfrm>
        </p:grpSpPr>
        <p:sp>
          <p:nvSpPr>
            <p:cNvPr id="186" name="Google Shape;577;p13">
              <a:extLst>
                <a:ext uri="{FF2B5EF4-FFF2-40B4-BE49-F238E27FC236}">
                  <a16:creationId xmlns:a16="http://schemas.microsoft.com/office/drawing/2014/main" id="{192F972A-F136-8C42-ACC6-3BB4AD0AFD8F}"/>
                </a:ext>
              </a:extLst>
            </p:cNvPr>
            <p:cNvSpPr/>
            <p:nvPr/>
          </p:nvSpPr>
          <p:spPr>
            <a:xfrm>
              <a:off x="9350612" y="-748609"/>
              <a:ext cx="991549" cy="991549"/>
            </a:xfrm>
            <a:prstGeom prst="ellipse">
              <a:avLst/>
            </a:prstGeom>
            <a:solidFill>
              <a:srgbClr val="1C0F4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600"/>
                <a:buFont typeface="Calibri"/>
                <a:buNone/>
              </a:pPr>
              <a:endParaRPr lang="en-US" sz="16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Freihandform 186">
              <a:extLst>
                <a:ext uri="{FF2B5EF4-FFF2-40B4-BE49-F238E27FC236}">
                  <a16:creationId xmlns:a16="http://schemas.microsoft.com/office/drawing/2014/main" id="{95959EAC-E88C-5B41-A699-4AB3DDCFAB92}"/>
                </a:ext>
              </a:extLst>
            </p:cNvPr>
            <p:cNvSpPr/>
            <p:nvPr/>
          </p:nvSpPr>
          <p:spPr>
            <a:xfrm>
              <a:off x="9724354" y="-199090"/>
              <a:ext cx="55419" cy="103909"/>
            </a:xfrm>
            <a:custGeom>
              <a:avLst/>
              <a:gdLst>
                <a:gd name="connsiteX0" fmla="*/ 0 w 110837"/>
                <a:gd name="connsiteY0" fmla="*/ 0 h 207818"/>
                <a:gd name="connsiteX1" fmla="*/ 27710 w 110837"/>
                <a:gd name="connsiteY1" fmla="*/ 110836 h 207818"/>
                <a:gd name="connsiteX2" fmla="*/ 83128 w 110837"/>
                <a:gd name="connsiteY2" fmla="*/ 193963 h 207818"/>
                <a:gd name="connsiteX3" fmla="*/ 110837 w 110837"/>
                <a:gd name="connsiteY3" fmla="*/ 207818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37" h="207818">
                  <a:moveTo>
                    <a:pt x="0" y="0"/>
                  </a:moveTo>
                  <a:cubicBezTo>
                    <a:pt x="3839" y="19194"/>
                    <a:pt x="14397" y="86872"/>
                    <a:pt x="27710" y="110836"/>
                  </a:cubicBezTo>
                  <a:cubicBezTo>
                    <a:pt x="43883" y="139947"/>
                    <a:pt x="53342" y="179069"/>
                    <a:pt x="83128" y="193963"/>
                  </a:cubicBezTo>
                  <a:lnTo>
                    <a:pt x="110837" y="207818"/>
                  </a:lnTo>
                </a:path>
              </a:pathLst>
            </a:custGeom>
            <a:noFill/>
            <a:ln>
              <a:solidFill>
                <a:srgbClr val="1C0F4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ctr"/>
              <a:endParaRPr lang="de-DE"/>
            </a:p>
          </p:txBody>
        </p:sp>
      </p:grpSp>
      <p:pic>
        <p:nvPicPr>
          <p:cNvPr id="185" name="Grafik 184">
            <a:extLst>
              <a:ext uri="{FF2B5EF4-FFF2-40B4-BE49-F238E27FC236}">
                <a16:creationId xmlns:a16="http://schemas.microsoft.com/office/drawing/2014/main" id="{7E2B438F-354C-214D-B292-3CCFECFAC8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06873" y="1254533"/>
            <a:ext cx="494378" cy="440642"/>
          </a:xfrm>
          <a:prstGeom prst="rect">
            <a:avLst/>
          </a:prstGeom>
        </p:spPr>
      </p:pic>
      <p:sp>
        <p:nvSpPr>
          <p:cNvPr id="55" name="Rechteck 54">
            <a:extLst>
              <a:ext uri="{FF2B5EF4-FFF2-40B4-BE49-F238E27FC236}">
                <a16:creationId xmlns:a16="http://schemas.microsoft.com/office/drawing/2014/main" id="{3F1DEB07-EC0E-AA46-A058-377DA5254782}"/>
              </a:ext>
            </a:extLst>
          </p:cNvPr>
          <p:cNvSpPr/>
          <p:nvPr/>
        </p:nvSpPr>
        <p:spPr>
          <a:xfrm>
            <a:off x="4462161" y="2032158"/>
            <a:ext cx="2762182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600">
                <a:solidFill>
                  <a:schemeClr val="bg1"/>
                </a:solidFill>
              </a:rPr>
              <a:t>Global water consumption in agriculture: </a:t>
            </a:r>
          </a:p>
          <a:p>
            <a:pPr lvl="0" algn="ctr"/>
            <a:r>
              <a:rPr lang="en-US" sz="1600">
                <a:solidFill>
                  <a:schemeClr val="bg1"/>
                </a:solidFill>
              </a:rPr>
              <a:t>1,200 cubic kilometers p.a. = </a:t>
            </a:r>
            <a:br>
              <a:rPr lang="en-US" sz="1600">
                <a:solidFill>
                  <a:schemeClr val="bg1"/>
                </a:solidFill>
              </a:rPr>
            </a:br>
            <a:r>
              <a:rPr lang="en-US" sz="4400" b="1">
                <a:solidFill>
                  <a:schemeClr val="bg1"/>
                </a:solidFill>
              </a:rPr>
              <a:t>70% </a:t>
            </a:r>
          </a:p>
          <a:p>
            <a:pPr lvl="0" algn="ctr"/>
            <a:r>
              <a:rPr lang="en-US" sz="2000" b="1">
                <a:solidFill>
                  <a:schemeClr val="bg1"/>
                </a:solidFill>
              </a:rPr>
              <a:t>of the total available freshwater on earth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71C14729-9ED5-D142-A211-B762F40C3316}"/>
              </a:ext>
            </a:extLst>
          </p:cNvPr>
          <p:cNvSpPr/>
          <p:nvPr/>
        </p:nvSpPr>
        <p:spPr>
          <a:xfrm>
            <a:off x="4421257" y="1550322"/>
            <a:ext cx="2865250" cy="3067353"/>
          </a:xfrm>
          <a:prstGeom prst="rect">
            <a:avLst/>
          </a:prstGeom>
          <a:solidFill>
            <a:schemeClr val="bg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447D5955-46E5-AD4A-9E67-F888F80B2873}"/>
              </a:ext>
            </a:extLst>
          </p:cNvPr>
          <p:cNvGrpSpPr/>
          <p:nvPr/>
        </p:nvGrpSpPr>
        <p:grpSpPr>
          <a:xfrm>
            <a:off x="5485514" y="1121774"/>
            <a:ext cx="791922" cy="791921"/>
            <a:chOff x="4609971" y="2767085"/>
            <a:chExt cx="935801" cy="935801"/>
          </a:xfrm>
        </p:grpSpPr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5C382F5B-BFEE-B640-AC88-D592C92645C5}"/>
                </a:ext>
              </a:extLst>
            </p:cNvPr>
            <p:cNvSpPr/>
            <p:nvPr/>
          </p:nvSpPr>
          <p:spPr>
            <a:xfrm>
              <a:off x="4609971" y="2767085"/>
              <a:ext cx="935801" cy="935801"/>
            </a:xfrm>
            <a:prstGeom prst="ellipse">
              <a:avLst/>
            </a:prstGeom>
            <a:solidFill>
              <a:srgbClr val="1C0F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V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01" name="Grafik 200">
              <a:extLst>
                <a:ext uri="{FF2B5EF4-FFF2-40B4-BE49-F238E27FC236}">
                  <a16:creationId xmlns:a16="http://schemas.microsoft.com/office/drawing/2014/main" id="{BF6D7402-84AE-8249-BF52-5D12227F8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83860" y="2952072"/>
              <a:ext cx="431800" cy="508000"/>
            </a:xfrm>
            <a:prstGeom prst="rect">
              <a:avLst/>
            </a:prstGeom>
          </p:spPr>
        </p:pic>
      </p:grpSp>
      <p:sp>
        <p:nvSpPr>
          <p:cNvPr id="22" name="Rechteck 21">
            <a:extLst>
              <a:ext uri="{FF2B5EF4-FFF2-40B4-BE49-F238E27FC236}">
                <a16:creationId xmlns:a16="http://schemas.microsoft.com/office/drawing/2014/main" id="{153DE26D-5A2D-C44A-A375-A62B14C5FEE9}"/>
              </a:ext>
            </a:extLst>
          </p:cNvPr>
          <p:cNvSpPr/>
          <p:nvPr/>
        </p:nvSpPr>
        <p:spPr>
          <a:xfrm>
            <a:off x="1179460" y="2114893"/>
            <a:ext cx="3258015" cy="1990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600">
                <a:solidFill>
                  <a:schemeClr val="bg1"/>
                </a:solidFill>
              </a:rPr>
              <a:t>CO</a:t>
            </a:r>
            <a:r>
              <a:rPr lang="en-US" sz="1600" baseline="-25000">
                <a:solidFill>
                  <a:schemeClr val="bg1"/>
                </a:solidFill>
              </a:rPr>
              <a:t>2</a:t>
            </a:r>
            <a:r>
              <a:rPr lang="en-US" sz="1600">
                <a:solidFill>
                  <a:schemeClr val="bg1"/>
                </a:solidFill>
              </a:rPr>
              <a:t> binding </a:t>
            </a:r>
          </a:p>
          <a:p>
            <a:pPr lvl="0" algn="ctr"/>
            <a:r>
              <a:rPr lang="en-US" sz="1600">
                <a:solidFill>
                  <a:schemeClr val="bg1"/>
                </a:solidFill>
              </a:rPr>
              <a:t>potential of terrestrial </a:t>
            </a:r>
          </a:p>
          <a:p>
            <a:pPr lvl="0" algn="ctr"/>
            <a:r>
              <a:rPr lang="en-US" sz="1600">
                <a:solidFill>
                  <a:schemeClr val="bg1"/>
                </a:solidFill>
              </a:rPr>
              <a:t>vegetation:  </a:t>
            </a:r>
          </a:p>
          <a:p>
            <a:pPr lvl="0" algn="ctr"/>
            <a:endParaRPr lang="en-US" sz="3200" b="1">
              <a:solidFill>
                <a:schemeClr val="bg1"/>
              </a:solidFill>
            </a:endParaRPr>
          </a:p>
          <a:p>
            <a:pPr lvl="0" algn="ctr">
              <a:lnSpc>
                <a:spcPts val="2400"/>
              </a:lnSpc>
            </a:pPr>
            <a:r>
              <a:rPr lang="en-US" sz="4400" b="1">
                <a:solidFill>
                  <a:schemeClr val="bg1"/>
                </a:solidFill>
              </a:rPr>
              <a:t>13.7</a:t>
            </a:r>
            <a:r>
              <a:rPr lang="en-US" sz="4400">
                <a:solidFill>
                  <a:schemeClr val="bg1"/>
                </a:solidFill>
              </a:rPr>
              <a:t> </a:t>
            </a:r>
            <a:r>
              <a:rPr lang="en-US" sz="4400" b="1">
                <a:solidFill>
                  <a:schemeClr val="bg1"/>
                </a:solidFill>
              </a:rPr>
              <a:t>Gt</a:t>
            </a:r>
            <a:br>
              <a:rPr lang="en-US" sz="2000" b="1">
                <a:solidFill>
                  <a:schemeClr val="bg1"/>
                </a:solidFill>
              </a:rPr>
            </a:br>
            <a:r>
              <a:rPr lang="en-US" sz="2000" b="1">
                <a:solidFill>
                  <a:schemeClr val="bg1"/>
                </a:solidFill>
              </a:rPr>
              <a:t> globally</a:t>
            </a:r>
            <a:r>
              <a:rPr lang="en-US" sz="44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F5DA526-5C47-C34F-945D-B0447BA2E18C}"/>
              </a:ext>
            </a:extLst>
          </p:cNvPr>
          <p:cNvSpPr/>
          <p:nvPr/>
        </p:nvSpPr>
        <p:spPr>
          <a:xfrm>
            <a:off x="1425662" y="1543683"/>
            <a:ext cx="2865250" cy="3067354"/>
          </a:xfrm>
          <a:prstGeom prst="rect">
            <a:avLst/>
          </a:prstGeom>
          <a:solidFill>
            <a:schemeClr val="bg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2F09490-F708-A340-BF0F-BA64A0C1A62E}"/>
              </a:ext>
            </a:extLst>
          </p:cNvPr>
          <p:cNvGrpSpPr/>
          <p:nvPr/>
        </p:nvGrpSpPr>
        <p:grpSpPr>
          <a:xfrm>
            <a:off x="2450245" y="1093186"/>
            <a:ext cx="957581" cy="791921"/>
            <a:chOff x="2174165" y="1495439"/>
            <a:chExt cx="1472228" cy="1217535"/>
          </a:xfrm>
        </p:grpSpPr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4ABFE4DE-C2B7-E649-B306-171836F0F474}"/>
                </a:ext>
              </a:extLst>
            </p:cNvPr>
            <p:cNvSpPr/>
            <p:nvPr/>
          </p:nvSpPr>
          <p:spPr>
            <a:xfrm>
              <a:off x="2234782" y="1495439"/>
              <a:ext cx="1217536" cy="1217535"/>
            </a:xfrm>
            <a:prstGeom prst="ellipse">
              <a:avLst/>
            </a:prstGeom>
            <a:solidFill>
              <a:srgbClr val="1C0F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V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" name="Grafik 9" descr="Aktualisieren">
              <a:extLst>
                <a:ext uri="{FF2B5EF4-FFF2-40B4-BE49-F238E27FC236}">
                  <a16:creationId xmlns:a16="http://schemas.microsoft.com/office/drawing/2014/main" id="{19B1378B-FF83-B649-A217-F008DAEA9F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2355645" y="1640809"/>
              <a:ext cx="914400" cy="914400"/>
            </a:xfrm>
            <a:prstGeom prst="rect">
              <a:avLst/>
            </a:prstGeom>
          </p:spPr>
        </p:pic>
        <p:sp>
          <p:nvSpPr>
            <p:cNvPr id="202" name="Titel 2">
              <a:extLst>
                <a:ext uri="{FF2B5EF4-FFF2-40B4-BE49-F238E27FC236}">
                  <a16:creationId xmlns:a16="http://schemas.microsoft.com/office/drawing/2014/main" id="{9A2D5297-4131-714D-B6E9-BC8C8645C2C6}"/>
                </a:ext>
              </a:extLst>
            </p:cNvPr>
            <p:cNvSpPr txBox="1">
              <a:spLocks/>
            </p:cNvSpPr>
            <p:nvPr/>
          </p:nvSpPr>
          <p:spPr>
            <a:xfrm>
              <a:off x="2174165" y="1896747"/>
              <a:ext cx="1472228" cy="408000"/>
            </a:xfrm>
            <a:prstGeom prst="rect">
              <a:avLst/>
            </a:prstGeom>
          </p:spPr>
          <p:txBody>
            <a:bodyPr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r>
                <a:rPr lang="en-US" sz="1200" b="1">
                  <a:solidFill>
                    <a:schemeClr val="bg1"/>
                  </a:solidFill>
                  <a:latin typeface="+mj-lt"/>
                </a:rPr>
                <a:t>CO2</a:t>
              </a:r>
              <a:endParaRPr lang="de-DE" sz="1200" b="1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9D6B731-9262-FCA1-4D1A-0A0F891679BD}"/>
              </a:ext>
            </a:extLst>
          </p:cNvPr>
          <p:cNvGrpSpPr/>
          <p:nvPr/>
        </p:nvGrpSpPr>
        <p:grpSpPr>
          <a:xfrm>
            <a:off x="9326143" y="3610607"/>
            <a:ext cx="2647733" cy="2634698"/>
            <a:chOff x="8721461" y="3311735"/>
            <a:chExt cx="2973819" cy="2959179"/>
          </a:xfrm>
        </p:grpSpPr>
        <p:sp>
          <p:nvSpPr>
            <p:cNvPr id="6" name="Oval 46">
              <a:extLst>
                <a:ext uri="{FF2B5EF4-FFF2-40B4-BE49-F238E27FC236}">
                  <a16:creationId xmlns:a16="http://schemas.microsoft.com/office/drawing/2014/main" id="{765D06E8-5470-FB31-53B2-4FB2E3159BE1}"/>
                </a:ext>
              </a:extLst>
            </p:cNvPr>
            <p:cNvSpPr/>
            <p:nvPr/>
          </p:nvSpPr>
          <p:spPr>
            <a:xfrm>
              <a:off x="8721461" y="3311735"/>
              <a:ext cx="2973819" cy="2959179"/>
            </a:xfrm>
            <a:prstGeom prst="ellipse">
              <a:avLst/>
            </a:prstGeom>
            <a:gradFill flip="none" rotWithShape="1">
              <a:gsLst>
                <a:gs pos="0">
                  <a:srgbClr val="FFC000"/>
                </a:gs>
                <a:gs pos="83000">
                  <a:srgbClr val="ED7D31">
                    <a:lumMod val="100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738BABD3-A30F-8E51-CDD5-C4D18C112701}"/>
                </a:ext>
              </a:extLst>
            </p:cNvPr>
            <p:cNvSpPr/>
            <p:nvPr/>
          </p:nvSpPr>
          <p:spPr>
            <a:xfrm>
              <a:off x="8800141" y="3650576"/>
              <a:ext cx="2816457" cy="22814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/>
                  <a:sym typeface="Arial"/>
                </a:rPr>
                <a:t>We need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/>
                  <a:sym typeface="Arial"/>
                </a:rPr>
                <a:t>to </a:t>
              </a:r>
              <a:r>
                <a:rPr kumimoji="0" lang="en-US" sz="1800" b="1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/>
                  <a:sym typeface="Arial"/>
                </a:rPr>
                <a:t>optimise</a:t>
              </a: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/>
                  <a:sym typeface="Arial"/>
                </a:rPr>
                <a:t> agricultur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/>
                  <a:sym typeface="Arial"/>
                </a:rPr>
                <a:t>to feed the world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/>
                  <a:sym typeface="Arial"/>
                </a:rPr>
                <a:t>and to help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/>
                  <a:sym typeface="Arial"/>
                </a:rPr>
                <a:t>attenuate climate change</a:t>
              </a:r>
              <a:endParaRPr kumimoji="0" lang="de-DE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1460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24DEB-7FAF-088D-AAAE-251B4471FF7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1800" y="260141"/>
            <a:ext cx="11303496" cy="408000"/>
          </a:xfrm>
        </p:spPr>
        <p:txBody>
          <a:bodyPr/>
          <a:lstStyle/>
          <a:p>
            <a:r>
              <a:rPr lang="en-GB" sz="2400" i="0">
                <a:solidFill>
                  <a:schemeClr val="bg1"/>
                </a:solidFill>
                <a:effectLst/>
                <a:latin typeface="+mj-lt"/>
              </a:rPr>
              <a:t>Sectors we address</a:t>
            </a:r>
            <a:endParaRPr lang="en-US" sz="2400">
              <a:solidFill>
                <a:schemeClr val="bg1"/>
              </a:solidFill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EADCA735-9A52-DFFF-E93C-49CFCE64DF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7598" y="634610"/>
            <a:ext cx="4629777" cy="2962567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EFCB58D1-DA20-29C8-8B46-6A5354AB1F43}"/>
              </a:ext>
            </a:extLst>
          </p:cNvPr>
          <p:cNvGrpSpPr/>
          <p:nvPr/>
        </p:nvGrpSpPr>
        <p:grpSpPr>
          <a:xfrm>
            <a:off x="1112041" y="3786338"/>
            <a:ext cx="4629777" cy="2917322"/>
            <a:chOff x="859717" y="3835965"/>
            <a:chExt cx="4629777" cy="2934239"/>
          </a:xfrm>
        </p:grpSpPr>
        <p:sp>
          <p:nvSpPr>
            <p:cNvPr id="3" name="Abgerundetes Rechteck 33">
              <a:extLst>
                <a:ext uri="{FF2B5EF4-FFF2-40B4-BE49-F238E27FC236}">
                  <a16:creationId xmlns:a16="http://schemas.microsoft.com/office/drawing/2014/main" id="{307ABD12-C0F6-7124-E093-2ABDF24B1C08}"/>
                </a:ext>
              </a:extLst>
            </p:cNvPr>
            <p:cNvSpPr/>
            <p:nvPr/>
          </p:nvSpPr>
          <p:spPr>
            <a:xfrm>
              <a:off x="859717" y="3846199"/>
              <a:ext cx="4629777" cy="2924005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>
              <a:solidFill>
                <a:srgbClr val="E0DFE4"/>
              </a:solidFill>
            </a:ln>
          </p:spPr>
          <p:txBody>
            <a:bodyPr vert="horz" lIns="72000" tIns="72000" rIns="72000" bIns="7200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en-GB" sz="1800">
                <a:ln>
                  <a:solidFill>
                    <a:srgbClr val="000000"/>
                  </a:solidFill>
                </a:ln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Round Same Side Corner Rectangle 36">
              <a:extLst>
                <a:ext uri="{FF2B5EF4-FFF2-40B4-BE49-F238E27FC236}">
                  <a16:creationId xmlns:a16="http://schemas.microsoft.com/office/drawing/2014/main" id="{479D7AB4-7860-DEF9-3621-90E057FD9AD9}"/>
                </a:ext>
              </a:extLst>
            </p:cNvPr>
            <p:cNvSpPr/>
            <p:nvPr/>
          </p:nvSpPr>
          <p:spPr>
            <a:xfrm rot="5400000">
              <a:off x="3045551" y="2742393"/>
              <a:ext cx="270063" cy="2457207"/>
            </a:xfrm>
            <a:prstGeom prst="round2SameRect">
              <a:avLst>
                <a:gd name="adj1" fmla="val 18326"/>
                <a:gd name="adj2" fmla="val 11043"/>
              </a:avLst>
            </a:prstGeom>
            <a:solidFill>
              <a:srgbClr val="160A42"/>
            </a:solidFill>
            <a:ln w="6350">
              <a:solidFill>
                <a:srgbClr val="1C0F46"/>
              </a:solidFill>
            </a:ln>
          </p:spPr>
          <p:txBody>
            <a:bodyPr vert="vert270" wrap="square" lIns="36000" tIns="36000" rIns="36000" bIns="3600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frastructure monitoring</a:t>
              </a:r>
            </a:p>
          </p:txBody>
        </p:sp>
        <p:pic>
          <p:nvPicPr>
            <p:cNvPr id="5" name="Picture 4" descr="A picture containing map, screenshot&#10;&#10;Description automatically generated">
              <a:extLst>
                <a:ext uri="{FF2B5EF4-FFF2-40B4-BE49-F238E27FC236}">
                  <a16:creationId xmlns:a16="http://schemas.microsoft.com/office/drawing/2014/main" id="{9C5B46AD-94E0-5D52-E01C-82F193457E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505" t="4640" r="11305" b="3590"/>
            <a:stretch/>
          </p:blipFill>
          <p:spPr>
            <a:xfrm>
              <a:off x="1082142" y="4423798"/>
              <a:ext cx="4166681" cy="2077442"/>
            </a:xfrm>
            <a:prstGeom prst="rect">
              <a:avLst/>
            </a:prstGeom>
          </p:spPr>
        </p:pic>
        <p:pic>
          <p:nvPicPr>
            <p:cNvPr id="6" name="Picture 13" descr="An aerial view of a city&#10;&#10;Description automatically generated">
              <a:extLst>
                <a:ext uri="{FF2B5EF4-FFF2-40B4-BE49-F238E27FC236}">
                  <a16:creationId xmlns:a16="http://schemas.microsoft.com/office/drawing/2014/main" id="{6F9DB65E-3C72-A7D2-B9C8-3561163EA4A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62441" y="4381319"/>
              <a:ext cx="2083284" cy="2100003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2D32785-5582-449F-0C8B-4AD8985AD253}"/>
              </a:ext>
            </a:extLst>
          </p:cNvPr>
          <p:cNvGrpSpPr/>
          <p:nvPr/>
        </p:nvGrpSpPr>
        <p:grpSpPr>
          <a:xfrm>
            <a:off x="6464627" y="3778072"/>
            <a:ext cx="4629600" cy="2925587"/>
            <a:chOff x="6567650" y="741126"/>
            <a:chExt cx="4629600" cy="2969564"/>
          </a:xfrm>
        </p:grpSpPr>
        <p:sp>
          <p:nvSpPr>
            <p:cNvPr id="9" name="Abgerundetes Rechteck 33">
              <a:extLst>
                <a:ext uri="{FF2B5EF4-FFF2-40B4-BE49-F238E27FC236}">
                  <a16:creationId xmlns:a16="http://schemas.microsoft.com/office/drawing/2014/main" id="{19C6414F-9A35-4889-BA71-C3D3872C8295}"/>
                </a:ext>
              </a:extLst>
            </p:cNvPr>
            <p:cNvSpPr/>
            <p:nvPr/>
          </p:nvSpPr>
          <p:spPr>
            <a:xfrm>
              <a:off x="6567650" y="749364"/>
              <a:ext cx="4629600" cy="2961326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>
              <a:solidFill>
                <a:srgbClr val="E0DFE4"/>
              </a:solidFill>
            </a:ln>
          </p:spPr>
          <p:txBody>
            <a:bodyPr vert="horz" lIns="72000" tIns="72000" rIns="72000" bIns="7200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en-GB" sz="1800">
                <a:ln>
                  <a:solidFill>
                    <a:srgbClr val="000000"/>
                  </a:solidFill>
                </a:ln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2B2F0F7D-F7B1-479D-FF2B-41F70AAED9E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951763" y="1183728"/>
              <a:ext cx="3819817" cy="2184410"/>
            </a:xfrm>
            <a:prstGeom prst="rect">
              <a:avLst/>
            </a:prstGeom>
          </p:spPr>
        </p:pic>
        <p:sp>
          <p:nvSpPr>
            <p:cNvPr id="14" name="Round Same Side Corner Rectangle 36">
              <a:extLst>
                <a:ext uri="{FF2B5EF4-FFF2-40B4-BE49-F238E27FC236}">
                  <a16:creationId xmlns:a16="http://schemas.microsoft.com/office/drawing/2014/main" id="{1DAF3C13-02DD-8992-1385-EC8B0BDB465B}"/>
                </a:ext>
              </a:extLst>
            </p:cNvPr>
            <p:cNvSpPr/>
            <p:nvPr/>
          </p:nvSpPr>
          <p:spPr>
            <a:xfrm rot="5400000">
              <a:off x="8809018" y="-352446"/>
              <a:ext cx="270063" cy="2457207"/>
            </a:xfrm>
            <a:prstGeom prst="round2SameRect">
              <a:avLst>
                <a:gd name="adj1" fmla="val 18326"/>
                <a:gd name="adj2" fmla="val 11043"/>
              </a:avLst>
            </a:prstGeom>
            <a:solidFill>
              <a:srgbClr val="160A42"/>
            </a:solidFill>
            <a:ln w="6350">
              <a:solidFill>
                <a:srgbClr val="1C0F46"/>
              </a:solidFill>
            </a:ln>
          </p:spPr>
          <p:txBody>
            <a:bodyPr vert="vert270" wrap="square" lIns="36000" tIns="36000" rIns="36000" bIns="3600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estry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975C433-AB3E-1772-B220-77B843A21866}"/>
              </a:ext>
            </a:extLst>
          </p:cNvPr>
          <p:cNvGrpSpPr/>
          <p:nvPr/>
        </p:nvGrpSpPr>
        <p:grpSpPr>
          <a:xfrm>
            <a:off x="6464627" y="628287"/>
            <a:ext cx="4629600" cy="2968891"/>
            <a:chOff x="6518216" y="3674858"/>
            <a:chExt cx="4629600" cy="2986316"/>
          </a:xfrm>
        </p:grpSpPr>
        <p:sp>
          <p:nvSpPr>
            <p:cNvPr id="8" name="Abgerundetes Rechteck 33">
              <a:extLst>
                <a:ext uri="{FF2B5EF4-FFF2-40B4-BE49-F238E27FC236}">
                  <a16:creationId xmlns:a16="http://schemas.microsoft.com/office/drawing/2014/main" id="{FF87F620-5337-DF84-E5DB-9CEDCA83CFA8}"/>
                </a:ext>
              </a:extLst>
            </p:cNvPr>
            <p:cNvSpPr/>
            <p:nvPr/>
          </p:nvSpPr>
          <p:spPr>
            <a:xfrm>
              <a:off x="6518216" y="3681218"/>
              <a:ext cx="4629600" cy="2979956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>
              <a:solidFill>
                <a:srgbClr val="E0DFE4"/>
              </a:solidFill>
            </a:ln>
          </p:spPr>
          <p:txBody>
            <a:bodyPr vert="horz" lIns="72000" tIns="72000" rIns="72000" bIns="7200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en-GB" sz="1800">
                <a:ln>
                  <a:solidFill>
                    <a:srgbClr val="000000"/>
                  </a:solidFill>
                </a:ln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CE3BDFF-63B1-CB63-135C-241450400EC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847407" y="4200894"/>
              <a:ext cx="3987706" cy="2156287"/>
            </a:xfrm>
            <a:prstGeom prst="rect">
              <a:avLst/>
            </a:prstGeom>
          </p:spPr>
        </p:pic>
        <p:sp>
          <p:nvSpPr>
            <p:cNvPr id="15" name="Round Same Side Corner Rectangle 36">
              <a:extLst>
                <a:ext uri="{FF2B5EF4-FFF2-40B4-BE49-F238E27FC236}">
                  <a16:creationId xmlns:a16="http://schemas.microsoft.com/office/drawing/2014/main" id="{E9B35492-B0D1-DB17-C714-99CD1EF62C73}"/>
                </a:ext>
              </a:extLst>
            </p:cNvPr>
            <p:cNvSpPr/>
            <p:nvPr/>
          </p:nvSpPr>
          <p:spPr>
            <a:xfrm rot="5400000">
              <a:off x="8809018" y="2581286"/>
              <a:ext cx="270063" cy="2457207"/>
            </a:xfrm>
            <a:prstGeom prst="round2SameRect">
              <a:avLst>
                <a:gd name="adj1" fmla="val 18326"/>
                <a:gd name="adj2" fmla="val 11043"/>
              </a:avLst>
            </a:prstGeom>
            <a:solidFill>
              <a:srgbClr val="160A42"/>
            </a:solidFill>
            <a:ln w="6350">
              <a:solidFill>
                <a:srgbClr val="1C0F46"/>
              </a:solidFill>
            </a:ln>
          </p:spPr>
          <p:txBody>
            <a:bodyPr vert="vert270" wrap="square" lIns="36000" tIns="36000" rIns="36000" bIns="3600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ater and coast monitoring</a:t>
              </a:r>
            </a:p>
          </p:txBody>
        </p:sp>
      </p:grpSp>
      <p:sp>
        <p:nvSpPr>
          <p:cNvPr id="22" name="Round Same Side Corner Rectangle 36">
            <a:extLst>
              <a:ext uri="{FF2B5EF4-FFF2-40B4-BE49-F238E27FC236}">
                <a16:creationId xmlns:a16="http://schemas.microsoft.com/office/drawing/2014/main" id="{7A0661BF-DFA6-FD75-A57A-95E4F20BC80E}"/>
              </a:ext>
            </a:extLst>
          </p:cNvPr>
          <p:cNvSpPr/>
          <p:nvPr/>
        </p:nvSpPr>
        <p:spPr>
          <a:xfrm rot="5400000">
            <a:off x="3352486" y="-476959"/>
            <a:ext cx="270063" cy="2493492"/>
          </a:xfrm>
          <a:prstGeom prst="round2SameRect">
            <a:avLst>
              <a:gd name="adj1" fmla="val 18326"/>
              <a:gd name="adj2" fmla="val 11043"/>
            </a:avLst>
          </a:prstGeom>
          <a:solidFill>
            <a:srgbClr val="160A42"/>
          </a:solidFill>
          <a:ln w="6350">
            <a:solidFill>
              <a:srgbClr val="1C0F46"/>
            </a:solidFill>
          </a:ln>
        </p:spPr>
        <p:txBody>
          <a:bodyPr vert="vert270" wrap="square" lIns="36000" tIns="36000" rIns="36000" bIns="36000" anchor="ctr">
            <a:spAutoFit/>
          </a:bodyPr>
          <a:lstStyle/>
          <a:p>
            <a:pPr algn="ctr" defTabSz="914400">
              <a:defRPr/>
            </a:pPr>
            <a:r>
              <a:rPr lang="de-DE" sz="1100" err="1">
                <a:solidFill>
                  <a:prstClr val="white"/>
                </a:solidFill>
                <a:latin typeface="Arial"/>
                <a:cs typeface="Arial"/>
              </a:rPr>
              <a:t>Crop</a:t>
            </a:r>
            <a:r>
              <a:rPr lang="de-DE" sz="1100">
                <a:solidFill>
                  <a:prstClr val="white"/>
                </a:solidFill>
                <a:latin typeface="Arial"/>
                <a:cs typeface="Arial"/>
              </a:rPr>
              <a:t> stress </a:t>
            </a:r>
            <a:r>
              <a:rPr lang="de-DE" sz="1100" err="1">
                <a:solidFill>
                  <a:prstClr val="white"/>
                </a:solidFill>
                <a:latin typeface="Arial"/>
                <a:cs typeface="Arial"/>
              </a:rPr>
              <a:t>detection</a:t>
            </a:r>
            <a:endParaRPr lang="de-DE" sz="1100" err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67679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2">
            <a:extLst>
              <a:ext uri="{FF2B5EF4-FFF2-40B4-BE49-F238E27FC236}">
                <a16:creationId xmlns:a16="http://schemas.microsoft.com/office/drawing/2014/main" id="{51099466-DEAC-27A9-9985-D6CE49E49A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683262" y="-1628444"/>
            <a:ext cx="4780884" cy="12192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A close-up of a container&#10;&#10;Description automatically generated">
            <a:extLst>
              <a:ext uri="{FF2B5EF4-FFF2-40B4-BE49-F238E27FC236}">
                <a16:creationId xmlns:a16="http://schemas.microsoft.com/office/drawing/2014/main" id="{A25B322C-E468-E247-5E0C-794BAC7CFC2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8567" t="20867" r="32762" b="47422"/>
          <a:stretch/>
        </p:blipFill>
        <p:spPr>
          <a:xfrm>
            <a:off x="10598498" y="38109"/>
            <a:ext cx="1593502" cy="1566385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E11B04B3-8C97-DF65-A6F0-05791D82F621}"/>
              </a:ext>
            </a:extLst>
          </p:cNvPr>
          <p:cNvGrpSpPr/>
          <p:nvPr/>
        </p:nvGrpSpPr>
        <p:grpSpPr>
          <a:xfrm>
            <a:off x="493890" y="1690883"/>
            <a:ext cx="11298604" cy="1014582"/>
            <a:chOff x="493890" y="1690883"/>
            <a:chExt cx="11298604" cy="1014582"/>
          </a:xfrm>
        </p:grpSpPr>
        <p:sp>
          <p:nvSpPr>
            <p:cNvPr id="42" name="Rounded Rectangle 60">
              <a:extLst>
                <a:ext uri="{FF2B5EF4-FFF2-40B4-BE49-F238E27FC236}">
                  <a16:creationId xmlns:a16="http://schemas.microsoft.com/office/drawing/2014/main" id="{23F5EAD7-CDF9-ECD1-D51E-B9983C9AC937}"/>
                </a:ext>
              </a:extLst>
            </p:cNvPr>
            <p:cNvSpPr/>
            <p:nvPr/>
          </p:nvSpPr>
          <p:spPr>
            <a:xfrm>
              <a:off x="493890" y="1690883"/>
              <a:ext cx="2483702" cy="1014582"/>
            </a:xfrm>
            <a:prstGeom prst="roundRect">
              <a:avLst>
                <a:gd name="adj" fmla="val 10703"/>
              </a:avLst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In-Orbit Demonstrator </a:t>
              </a: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LisR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180C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Payload on board ISS</a:t>
              </a:r>
            </a:p>
          </p:txBody>
        </p:sp>
        <p:sp>
          <p:nvSpPr>
            <p:cNvPr id="43" name="Rounded Rectangle 60">
              <a:extLst>
                <a:ext uri="{FF2B5EF4-FFF2-40B4-BE49-F238E27FC236}">
                  <a16:creationId xmlns:a16="http://schemas.microsoft.com/office/drawing/2014/main" id="{1E19FFCA-33CA-9CEF-DDF2-7344E4B13524}"/>
                </a:ext>
              </a:extLst>
            </p:cNvPr>
            <p:cNvSpPr/>
            <p:nvPr/>
          </p:nvSpPr>
          <p:spPr>
            <a:xfrm>
              <a:off x="3306963" y="1690883"/>
              <a:ext cx="2483702" cy="1014582"/>
            </a:xfrm>
            <a:prstGeom prst="roundRect">
              <a:avLst>
                <a:gd name="adj" fmla="val 4615"/>
              </a:avLst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HiVE Satellite #1 and #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First free-flying satellites</a:t>
              </a:r>
            </a:p>
          </p:txBody>
        </p:sp>
        <p:sp>
          <p:nvSpPr>
            <p:cNvPr id="44" name="Rounded Rectangle 60">
              <a:extLst>
                <a:ext uri="{FF2B5EF4-FFF2-40B4-BE49-F238E27FC236}">
                  <a16:creationId xmlns:a16="http://schemas.microsoft.com/office/drawing/2014/main" id="{D9B0A92B-0DFE-DBB8-9BE4-F9B01A9A9518}"/>
                </a:ext>
              </a:extLst>
            </p:cNvPr>
            <p:cNvSpPr/>
            <p:nvPr/>
          </p:nvSpPr>
          <p:spPr>
            <a:xfrm>
              <a:off x="6022314" y="1690883"/>
              <a:ext cx="2483702" cy="1014582"/>
            </a:xfrm>
            <a:prstGeom prst="roundRect">
              <a:avLst>
                <a:gd name="adj" fmla="val 4615"/>
              </a:avLst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HiVE Satellite #3, #4, #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Minimum viable constellation for daily revisit</a:t>
              </a:r>
            </a:p>
          </p:txBody>
        </p:sp>
        <p:sp>
          <p:nvSpPr>
            <p:cNvPr id="45" name="Rounded Rectangle 60">
              <a:extLst>
                <a:ext uri="{FF2B5EF4-FFF2-40B4-BE49-F238E27FC236}">
                  <a16:creationId xmlns:a16="http://schemas.microsoft.com/office/drawing/2014/main" id="{B80A8C74-867E-6E47-3636-1922CE41B181}"/>
                </a:ext>
              </a:extLst>
            </p:cNvPr>
            <p:cNvSpPr/>
            <p:nvPr/>
          </p:nvSpPr>
          <p:spPr>
            <a:xfrm>
              <a:off x="9308792" y="1690883"/>
              <a:ext cx="2483702" cy="1014582"/>
            </a:xfrm>
            <a:prstGeom prst="roundRect">
              <a:avLst>
                <a:gd name="adj" fmla="val 4615"/>
              </a:avLst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HiVE</a:t>
              </a: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Constel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Operations at scale with up to 30 Satellites launched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A260F9A-B994-74FB-AFC4-6C75809DBB6C}"/>
                </a:ext>
              </a:extLst>
            </p:cNvPr>
            <p:cNvCxnSpPr>
              <a:cxnSpLocks/>
              <a:stCxn id="42" idx="3"/>
              <a:endCxn id="43" idx="1"/>
            </p:cNvCxnSpPr>
            <p:nvPr/>
          </p:nvCxnSpPr>
          <p:spPr>
            <a:xfrm>
              <a:off x="2977592" y="2198174"/>
              <a:ext cx="329371" cy="0"/>
            </a:xfrm>
            <a:prstGeom prst="line">
              <a:avLst/>
            </a:prstGeom>
            <a:ln w="12700">
              <a:solidFill>
                <a:srgbClr val="1C0F46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905B778D-0EA1-9EA1-FA2D-4330B5AF1312}"/>
                </a:ext>
              </a:extLst>
            </p:cNvPr>
            <p:cNvCxnSpPr>
              <a:cxnSpLocks/>
              <a:stCxn id="43" idx="3"/>
              <a:endCxn id="44" idx="1"/>
            </p:cNvCxnSpPr>
            <p:nvPr/>
          </p:nvCxnSpPr>
          <p:spPr>
            <a:xfrm>
              <a:off x="5790665" y="2198174"/>
              <a:ext cx="231649" cy="0"/>
            </a:xfrm>
            <a:prstGeom prst="line">
              <a:avLst/>
            </a:prstGeom>
            <a:ln w="12700">
              <a:solidFill>
                <a:srgbClr val="1C0F46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7CD3F4B5-B146-7B0C-6873-A4979A804AB8}"/>
                </a:ext>
              </a:extLst>
            </p:cNvPr>
            <p:cNvCxnSpPr>
              <a:cxnSpLocks/>
              <a:stCxn id="44" idx="3"/>
              <a:endCxn id="45" idx="1"/>
            </p:cNvCxnSpPr>
            <p:nvPr/>
          </p:nvCxnSpPr>
          <p:spPr>
            <a:xfrm>
              <a:off x="8506016" y="2198174"/>
              <a:ext cx="802776" cy="0"/>
            </a:xfrm>
            <a:prstGeom prst="line">
              <a:avLst/>
            </a:prstGeom>
            <a:ln w="12700">
              <a:solidFill>
                <a:srgbClr val="1C0F46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4" name="Picture 2">
            <a:extLst>
              <a:ext uri="{FF2B5EF4-FFF2-40B4-BE49-F238E27FC236}">
                <a16:creationId xmlns:a16="http://schemas.microsoft.com/office/drawing/2014/main" id="{9930904D-65DF-6C7A-6301-2B0DE90E35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7798" y="4763456"/>
            <a:ext cx="1592017" cy="580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>
            <a:extLst>
              <a:ext uri="{FF2B5EF4-FFF2-40B4-BE49-F238E27FC236}">
                <a16:creationId xmlns:a16="http://schemas.microsoft.com/office/drawing/2014/main" id="{8A441502-7ADD-013B-7BE9-3F056A0B50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81722" y="4740981"/>
            <a:ext cx="1727100" cy="580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8" descr="Logo der NASA">
            <a:extLst>
              <a:ext uri="{FF2B5EF4-FFF2-40B4-BE49-F238E27FC236}">
                <a16:creationId xmlns:a16="http://schemas.microsoft.com/office/drawing/2014/main" id="{FCA16388-B31E-1B02-812C-7575FB81C7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5895" y="4696220"/>
            <a:ext cx="854733" cy="714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Title 3">
            <a:extLst>
              <a:ext uri="{FF2B5EF4-FFF2-40B4-BE49-F238E27FC236}">
                <a16:creationId xmlns:a16="http://schemas.microsoft.com/office/drawing/2014/main" id="{D63BDAB2-6D72-3A6B-126C-CD10E8995623}"/>
              </a:ext>
            </a:extLst>
          </p:cNvPr>
          <p:cNvSpPr txBox="1">
            <a:spLocks/>
          </p:cNvSpPr>
          <p:nvPr/>
        </p:nvSpPr>
        <p:spPr>
          <a:xfrm>
            <a:off x="488851" y="344404"/>
            <a:ext cx="11541789" cy="3607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Eina04-Semi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 HiVE mission roadmap</a:t>
            </a:r>
          </a:p>
        </p:txBody>
      </p:sp>
      <p:pic>
        <p:nvPicPr>
          <p:cNvPr id="1028" name="Picture 4" descr="EU Space and the Coronavirus | Copernicus">
            <a:extLst>
              <a:ext uri="{FF2B5EF4-FFF2-40B4-BE49-F238E27FC236}">
                <a16:creationId xmlns:a16="http://schemas.microsoft.com/office/drawing/2014/main" id="{90509B70-0B63-B66D-59D5-A1B4998B20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alphaModFix amt="7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49469" y="5623902"/>
            <a:ext cx="2600073" cy="724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7BEC23E4-E6EC-4023-473F-FB95A48CF9F6}"/>
              </a:ext>
            </a:extLst>
          </p:cNvPr>
          <p:cNvGrpSpPr/>
          <p:nvPr/>
        </p:nvGrpSpPr>
        <p:grpSpPr>
          <a:xfrm>
            <a:off x="669363" y="2295536"/>
            <a:ext cx="11361278" cy="2270683"/>
            <a:chOff x="669363" y="2295536"/>
            <a:chExt cx="11361278" cy="2270683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7929E75-BA57-8D6F-CF04-47341E85B1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8914" y="4056733"/>
              <a:ext cx="10983051" cy="2"/>
            </a:xfrm>
            <a:prstGeom prst="line">
              <a:avLst/>
            </a:prstGeom>
            <a:ln w="12700">
              <a:solidFill>
                <a:srgbClr val="1C0F46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Diamond 13">
              <a:extLst>
                <a:ext uri="{FF2B5EF4-FFF2-40B4-BE49-F238E27FC236}">
                  <a16:creationId xmlns:a16="http://schemas.microsoft.com/office/drawing/2014/main" id="{DF22431F-7D78-0A9D-8BC0-078DBC506A51}"/>
                </a:ext>
              </a:extLst>
            </p:cNvPr>
            <p:cNvSpPr/>
            <p:nvPr/>
          </p:nvSpPr>
          <p:spPr>
            <a:xfrm>
              <a:off x="1171852" y="3948184"/>
              <a:ext cx="234739" cy="234739"/>
            </a:xfrm>
            <a:prstGeom prst="diamond">
              <a:avLst/>
            </a:prstGeom>
            <a:solidFill>
              <a:srgbClr val="1C0F46"/>
            </a:solidFill>
            <a:ln w="6350">
              <a:solidFill>
                <a:srgbClr val="1C0F46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Eina 04 Bold" panose="02000000000000000000" pitchFamily="2" charset="77"/>
                <a:ea typeface="+mn-ea"/>
                <a:cs typeface="+mn-cs"/>
              </a:endParaRPr>
            </a:p>
          </p:txBody>
        </p:sp>
        <p:sp>
          <p:nvSpPr>
            <p:cNvPr id="30" name="Diamond 29">
              <a:extLst>
                <a:ext uri="{FF2B5EF4-FFF2-40B4-BE49-F238E27FC236}">
                  <a16:creationId xmlns:a16="http://schemas.microsoft.com/office/drawing/2014/main" id="{2A4710B1-BCF0-384D-521E-1D398B86DAFB}"/>
                </a:ext>
              </a:extLst>
            </p:cNvPr>
            <p:cNvSpPr/>
            <p:nvPr/>
          </p:nvSpPr>
          <p:spPr>
            <a:xfrm>
              <a:off x="4214730" y="3948182"/>
              <a:ext cx="234739" cy="234739"/>
            </a:xfrm>
            <a:prstGeom prst="diamond">
              <a:avLst/>
            </a:prstGeom>
            <a:solidFill>
              <a:srgbClr val="1C0F46"/>
            </a:solidFill>
            <a:ln w="6350">
              <a:solidFill>
                <a:srgbClr val="1C0F46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Eina 04 Bold" panose="02000000000000000000" pitchFamily="2" charset="77"/>
                <a:ea typeface="+mn-ea"/>
                <a:cs typeface="+mn-cs"/>
              </a:endParaRPr>
            </a:p>
          </p:txBody>
        </p:sp>
        <p:sp>
          <p:nvSpPr>
            <p:cNvPr id="31" name="Diamond 30">
              <a:extLst>
                <a:ext uri="{FF2B5EF4-FFF2-40B4-BE49-F238E27FC236}">
                  <a16:creationId xmlns:a16="http://schemas.microsoft.com/office/drawing/2014/main" id="{3CB3C48C-170E-F02C-7444-06DCA73F950D}"/>
                </a:ext>
              </a:extLst>
            </p:cNvPr>
            <p:cNvSpPr/>
            <p:nvPr/>
          </p:nvSpPr>
          <p:spPr>
            <a:xfrm>
              <a:off x="7223815" y="3948182"/>
              <a:ext cx="234739" cy="234739"/>
            </a:xfrm>
            <a:prstGeom prst="diamond">
              <a:avLst/>
            </a:prstGeom>
            <a:solidFill>
              <a:srgbClr val="1C0F46"/>
            </a:solidFill>
            <a:ln w="6350">
              <a:solidFill>
                <a:srgbClr val="1C0F46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Eina 04 Bold" panose="02000000000000000000" pitchFamily="2" charset="77"/>
                <a:ea typeface="+mn-ea"/>
                <a:cs typeface="+mn-cs"/>
              </a:endParaRPr>
            </a:p>
          </p:txBody>
        </p:sp>
        <p:sp>
          <p:nvSpPr>
            <p:cNvPr id="35" name="Diamond 34">
              <a:extLst>
                <a:ext uri="{FF2B5EF4-FFF2-40B4-BE49-F238E27FC236}">
                  <a16:creationId xmlns:a16="http://schemas.microsoft.com/office/drawing/2014/main" id="{63189A34-B235-235F-EAEF-6FDFE7BBD3F3}"/>
                </a:ext>
              </a:extLst>
            </p:cNvPr>
            <p:cNvSpPr/>
            <p:nvPr/>
          </p:nvSpPr>
          <p:spPr>
            <a:xfrm>
              <a:off x="11293416" y="3939364"/>
              <a:ext cx="234739" cy="234739"/>
            </a:xfrm>
            <a:prstGeom prst="diamond">
              <a:avLst/>
            </a:prstGeom>
            <a:solidFill>
              <a:srgbClr val="1C0F46"/>
            </a:solidFill>
            <a:ln w="6350">
              <a:solidFill>
                <a:srgbClr val="1C0F46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Eina 04 Bold" panose="02000000000000000000" pitchFamily="2" charset="77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9111831-14F4-BC91-0CD2-ADDCCA4486F7}"/>
                </a:ext>
              </a:extLst>
            </p:cNvPr>
            <p:cNvSpPr txBox="1"/>
            <p:nvPr/>
          </p:nvSpPr>
          <p:spPr>
            <a:xfrm>
              <a:off x="669363" y="4233339"/>
              <a:ext cx="12397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eb 2022</a:t>
              </a:r>
              <a:endPara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180C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87FBAC0-9F34-3860-95A9-842C4A3F1A24}"/>
                </a:ext>
              </a:extLst>
            </p:cNvPr>
            <p:cNvSpPr txBox="1"/>
            <p:nvPr/>
          </p:nvSpPr>
          <p:spPr>
            <a:xfrm>
              <a:off x="3596095" y="4258442"/>
              <a:ext cx="14720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E" sz="1400" b="1" i="0" u="none" strike="noStrike" kern="120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1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/202</a:t>
              </a:r>
              <a:r>
                <a:rPr kumimoji="0" lang="en-BE" sz="1400" b="1" i="0" u="none" strike="noStrike" kern="120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</a:t>
              </a:r>
              <a:endPara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180C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0959561-60CC-5DDE-2224-FF98FF785A11}"/>
                </a:ext>
              </a:extLst>
            </p:cNvPr>
            <p:cNvSpPr txBox="1"/>
            <p:nvPr/>
          </p:nvSpPr>
          <p:spPr>
            <a:xfrm>
              <a:off x="6617781" y="4233339"/>
              <a:ext cx="14720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026/27</a:t>
              </a:r>
              <a:endPara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180C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7F56949-3C87-D3C5-1C4D-E6DB4B7C4F3B}"/>
                </a:ext>
              </a:extLst>
            </p:cNvPr>
            <p:cNvSpPr txBox="1"/>
            <p:nvPr/>
          </p:nvSpPr>
          <p:spPr>
            <a:xfrm>
              <a:off x="10790927" y="4224520"/>
              <a:ext cx="12397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y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2030</a:t>
              </a:r>
              <a:endPara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180C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DE21FE99-197E-0BE5-D3B4-2543A66099E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124270" y="3201317"/>
              <a:ext cx="521042" cy="521042"/>
            </a:xfrm>
            <a:prstGeom prst="rect">
              <a:avLst/>
            </a:prstGeom>
          </p:spPr>
        </p:pic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id="{A549B963-C6D9-086E-CEFB-A99065D16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071577" y="3197342"/>
              <a:ext cx="521042" cy="521042"/>
            </a:xfrm>
            <a:prstGeom prst="rect">
              <a:avLst/>
            </a:prstGeom>
          </p:spPr>
        </p:pic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E0248AEC-9F2C-3F4E-037A-02E1C8B9CBD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111977" y="3204626"/>
              <a:ext cx="521042" cy="521042"/>
            </a:xfrm>
            <a:prstGeom prst="rect">
              <a:avLst/>
            </a:prstGeom>
          </p:spPr>
        </p:pic>
        <p:pic>
          <p:nvPicPr>
            <p:cNvPr id="49" name="Graphic 48">
              <a:extLst>
                <a:ext uri="{FF2B5EF4-FFF2-40B4-BE49-F238E27FC236}">
                  <a16:creationId xmlns:a16="http://schemas.microsoft.com/office/drawing/2014/main" id="{A64F0CEC-8895-6525-0DF5-A5C7E5F5855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482411" y="3192456"/>
              <a:ext cx="521042" cy="521042"/>
            </a:xfrm>
            <a:prstGeom prst="rect">
              <a:avLst/>
            </a:prstGeom>
          </p:spPr>
        </p:pic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8F4CDFB5-0404-3C6F-23FD-6987970EF44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711176" y="3222285"/>
              <a:ext cx="521042" cy="521042"/>
            </a:xfrm>
            <a:prstGeom prst="rect">
              <a:avLst/>
            </a:prstGeom>
          </p:spPr>
        </p:pic>
        <p:sp>
          <p:nvSpPr>
            <p:cNvPr id="61" name="Arc 60">
              <a:extLst>
                <a:ext uri="{FF2B5EF4-FFF2-40B4-BE49-F238E27FC236}">
                  <a16:creationId xmlns:a16="http://schemas.microsoft.com/office/drawing/2014/main" id="{081BBE3D-0512-CE55-3BEE-BBEBB1BD634A}"/>
                </a:ext>
              </a:extLst>
            </p:cNvPr>
            <p:cNvSpPr/>
            <p:nvPr/>
          </p:nvSpPr>
          <p:spPr>
            <a:xfrm flipV="1">
              <a:off x="6617226" y="2295536"/>
              <a:ext cx="5170230" cy="1546157"/>
            </a:xfrm>
            <a:prstGeom prst="arc">
              <a:avLst>
                <a:gd name="adj1" fmla="val 15941096"/>
                <a:gd name="adj2" fmla="val 21501975"/>
              </a:avLst>
            </a:prstGeom>
            <a:ln w="12700">
              <a:solidFill>
                <a:srgbClr val="180C3E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ina 04 Regular"/>
                <a:ea typeface="+mn-ea"/>
                <a:cs typeface="+mn-cs"/>
              </a:endParaRPr>
            </a:p>
          </p:txBody>
        </p:sp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id="{CBDB32AD-91B2-CA18-BA82-295C14983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38123" y="3096788"/>
              <a:ext cx="730101" cy="730101"/>
            </a:xfrm>
            <a:prstGeom prst="rect">
              <a:avLst/>
            </a:prstGeom>
          </p:spPr>
        </p:pic>
        <p:sp>
          <p:nvSpPr>
            <p:cNvPr id="4" name="AutoShape 10">
              <a:extLst>
                <a:ext uri="{FF2B5EF4-FFF2-40B4-BE49-F238E27FC236}">
                  <a16:creationId xmlns:a16="http://schemas.microsoft.com/office/drawing/2014/main" id="{E6329322-BECD-98C7-FFC2-7DFDF3FD03A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943600" y="3276600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DE"/>
            </a:p>
          </p:txBody>
        </p:sp>
        <p:sp>
          <p:nvSpPr>
            <p:cNvPr id="2" name="TextBox 38">
              <a:extLst>
                <a:ext uri="{FF2B5EF4-FFF2-40B4-BE49-F238E27FC236}">
                  <a16:creationId xmlns:a16="http://schemas.microsoft.com/office/drawing/2014/main" id="{ED83533E-1A63-518D-9C41-2DAE2038021D}"/>
                </a:ext>
              </a:extLst>
            </p:cNvPr>
            <p:cNvSpPr txBox="1"/>
            <p:nvPr/>
          </p:nvSpPr>
          <p:spPr>
            <a:xfrm>
              <a:off x="4671741" y="4241325"/>
              <a:ext cx="14720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180C3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6/2025</a:t>
              </a:r>
              <a:endPara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180C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" name="Diamond 29">
              <a:extLst>
                <a:ext uri="{FF2B5EF4-FFF2-40B4-BE49-F238E27FC236}">
                  <a16:creationId xmlns:a16="http://schemas.microsoft.com/office/drawing/2014/main" id="{36398DBD-7168-DC9D-8B15-5F7088651B91}"/>
                </a:ext>
              </a:extLst>
            </p:cNvPr>
            <p:cNvSpPr/>
            <p:nvPr/>
          </p:nvSpPr>
          <p:spPr>
            <a:xfrm>
              <a:off x="5281531" y="3948184"/>
              <a:ext cx="234739" cy="234739"/>
            </a:xfrm>
            <a:prstGeom prst="diamond">
              <a:avLst/>
            </a:prstGeom>
            <a:solidFill>
              <a:srgbClr val="1C0F46"/>
            </a:solidFill>
            <a:ln w="6350">
              <a:solidFill>
                <a:srgbClr val="1C0F46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Eina 04 Bold" panose="02000000000000000000" pitchFamily="2" charset="77"/>
                <a:ea typeface="+mn-ea"/>
                <a:cs typeface="+mn-cs"/>
              </a:endParaRPr>
            </a:p>
          </p:txBody>
        </p:sp>
      </p:grpSp>
      <p:sp>
        <p:nvSpPr>
          <p:cNvPr id="12" name="Title 3">
            <a:extLst>
              <a:ext uri="{FF2B5EF4-FFF2-40B4-BE49-F238E27FC236}">
                <a16:creationId xmlns:a16="http://schemas.microsoft.com/office/drawing/2014/main" id="{B9DE063F-E644-7641-CA6E-F19F3AEF6E68}"/>
              </a:ext>
            </a:extLst>
          </p:cNvPr>
          <p:cNvSpPr txBox="1">
            <a:spLocks/>
          </p:cNvSpPr>
          <p:nvPr/>
        </p:nvSpPr>
        <p:spPr>
          <a:xfrm>
            <a:off x="549544" y="313178"/>
            <a:ext cx="11541789" cy="360738"/>
          </a:xfrm>
          <a:prstGeom prst="rect">
            <a:avLst/>
          </a:prstGeom>
          <a:effectLst/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Eina04-SemiBold" panose="02000000000000000000" pitchFamily="50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z="2600" b="1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HiVE mission roadmap</a:t>
            </a:r>
          </a:p>
        </p:txBody>
      </p:sp>
    </p:spTree>
    <p:extLst>
      <p:ext uri="{BB962C8B-B14F-4D97-AF65-F5344CB8AC3E}">
        <p14:creationId xmlns:p14="http://schemas.microsoft.com/office/powerpoint/2010/main" val="3306412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AFB0F2F7-4C0D-000D-93DB-AAD18671C0F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6065"/>
            <a:ext cx="12192000" cy="6858000"/>
          </a:xfrm>
          <a:prstGeom prst="rect">
            <a:avLst/>
          </a:prstGeom>
        </p:spPr>
      </p:pic>
      <p:sp>
        <p:nvSpPr>
          <p:cNvPr id="10" name="Rounded Rectangle 60">
            <a:extLst>
              <a:ext uri="{FF2B5EF4-FFF2-40B4-BE49-F238E27FC236}">
                <a16:creationId xmlns:a16="http://schemas.microsoft.com/office/drawing/2014/main" id="{0CEA2178-5E4A-8BC0-7750-F7C696479334}"/>
              </a:ext>
            </a:extLst>
          </p:cNvPr>
          <p:cNvSpPr/>
          <p:nvPr/>
        </p:nvSpPr>
        <p:spPr>
          <a:xfrm>
            <a:off x="2177012" y="1965278"/>
            <a:ext cx="2839433" cy="3128666"/>
          </a:xfrm>
          <a:prstGeom prst="roundRect">
            <a:avLst>
              <a:gd name="adj" fmla="val 1992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: Rounded Corners 73">
            <a:extLst>
              <a:ext uri="{FF2B5EF4-FFF2-40B4-BE49-F238E27FC236}">
                <a16:creationId xmlns:a16="http://schemas.microsoft.com/office/drawing/2014/main" id="{D6553770-DE17-4DC9-9A0D-9161AECA3DF6}"/>
              </a:ext>
            </a:extLst>
          </p:cNvPr>
          <p:cNvSpPr/>
          <p:nvPr/>
        </p:nvSpPr>
        <p:spPr>
          <a:xfrm>
            <a:off x="488852" y="3017086"/>
            <a:ext cx="1579550" cy="264151"/>
          </a:xfrm>
          <a:prstGeom prst="roundRect">
            <a:avLst/>
          </a:prstGeom>
          <a:solidFill>
            <a:srgbClr val="1C0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visit time</a:t>
            </a:r>
          </a:p>
        </p:txBody>
      </p:sp>
      <p:sp>
        <p:nvSpPr>
          <p:cNvPr id="21" name="Rectangle: Rounded Corners 73">
            <a:extLst>
              <a:ext uri="{FF2B5EF4-FFF2-40B4-BE49-F238E27FC236}">
                <a16:creationId xmlns:a16="http://schemas.microsoft.com/office/drawing/2014/main" id="{517EE455-C3EA-4F9C-A6C0-9945135D516F}"/>
              </a:ext>
            </a:extLst>
          </p:cNvPr>
          <p:cNvSpPr/>
          <p:nvPr/>
        </p:nvSpPr>
        <p:spPr>
          <a:xfrm>
            <a:off x="488852" y="1965277"/>
            <a:ext cx="1579550" cy="256123"/>
          </a:xfrm>
          <a:prstGeom prst="roundRect">
            <a:avLst/>
          </a:prstGeom>
          <a:solidFill>
            <a:srgbClr val="1C0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atus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A8149690-E0B0-4ECA-B36A-B87F92E1BE1D}"/>
              </a:ext>
            </a:extLst>
          </p:cNvPr>
          <p:cNvSpPr/>
          <p:nvPr/>
        </p:nvSpPr>
        <p:spPr>
          <a:xfrm>
            <a:off x="2093430" y="1974586"/>
            <a:ext cx="2853666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unch:</a:t>
            </a:r>
            <a:r>
              <a:rPr lang="en-BE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ly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</a:t>
            </a:r>
            <a:r>
              <a:rPr kumimoji="0" lang="en-BE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data from mid 2025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TextBox 34">
            <a:extLst>
              <a:ext uri="{FF2B5EF4-FFF2-40B4-BE49-F238E27FC236}">
                <a16:creationId xmlns:a16="http://schemas.microsoft.com/office/drawing/2014/main" id="{912CE15D-27E4-4EA7-95A4-ADC30AF11F68}"/>
              </a:ext>
            </a:extLst>
          </p:cNvPr>
          <p:cNvSpPr txBox="1"/>
          <p:nvPr/>
        </p:nvSpPr>
        <p:spPr>
          <a:xfrm>
            <a:off x="948646" y="6295391"/>
            <a:ext cx="86016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VN"/>
            </a:defPPr>
            <a:lvl1pPr>
              <a:defRPr sz="800">
                <a:solidFill>
                  <a:srgbClr val="1C0F46"/>
                </a:solidFill>
                <a:latin typeface="Eina 04 Regular" panose="020000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tform rendering ©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noAvionics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2023)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648CF3B4-EACA-4939-B775-48707D889C9A}"/>
              </a:ext>
            </a:extLst>
          </p:cNvPr>
          <p:cNvSpPr/>
          <p:nvPr/>
        </p:nvSpPr>
        <p:spPr>
          <a:xfrm>
            <a:off x="2197746" y="3054386"/>
            <a:ext cx="2645019" cy="276999"/>
          </a:xfrm>
          <a:prstGeom prst="rect">
            <a:avLst/>
          </a:prstGeom>
        </p:spPr>
        <p:txBody>
          <a:bodyPr wrap="square" lIns="91440" tIns="45720" rIns="91440" bIns="45720" anchor="ctr">
            <a:spAutoFit/>
          </a:bodyPr>
          <a:lstStyle/>
          <a:p>
            <a:pPr algn="ctr"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rom 4 days </a:t>
            </a:r>
            <a:r>
              <a:rPr lang="en-US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 sat)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 daily (</a:t>
            </a:r>
            <a:r>
              <a:rPr lang="en-US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sat)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: Rounded Corners 73">
            <a:extLst>
              <a:ext uri="{FF2B5EF4-FFF2-40B4-BE49-F238E27FC236}">
                <a16:creationId xmlns:a16="http://schemas.microsoft.com/office/drawing/2014/main" id="{BDA1399D-970B-41D0-B32D-41C727D3796F}"/>
              </a:ext>
            </a:extLst>
          </p:cNvPr>
          <p:cNvSpPr/>
          <p:nvPr/>
        </p:nvSpPr>
        <p:spPr>
          <a:xfrm>
            <a:off x="488852" y="3623378"/>
            <a:ext cx="1579550" cy="264151"/>
          </a:xfrm>
          <a:prstGeom prst="roundRect">
            <a:avLst/>
          </a:prstGeom>
          <a:solidFill>
            <a:srgbClr val="1C0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SD (nadir)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282843FA-8471-4AF1-B4E6-875C98D1487A}"/>
              </a:ext>
            </a:extLst>
          </p:cNvPr>
          <p:cNvSpPr/>
          <p:nvPr/>
        </p:nvSpPr>
        <p:spPr>
          <a:xfrm>
            <a:off x="2597791" y="3651142"/>
            <a:ext cx="1844929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0 m LWIR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/ 10 m VNI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: Rounded Corners 73">
            <a:extLst>
              <a:ext uri="{FF2B5EF4-FFF2-40B4-BE49-F238E27FC236}">
                <a16:creationId xmlns:a16="http://schemas.microsoft.com/office/drawing/2014/main" id="{BCB66AF3-7BF3-488E-94D9-3C660CA9842A}"/>
              </a:ext>
            </a:extLst>
          </p:cNvPr>
          <p:cNvSpPr/>
          <p:nvPr/>
        </p:nvSpPr>
        <p:spPr>
          <a:xfrm>
            <a:off x="488852" y="4229669"/>
            <a:ext cx="1579550" cy="264150"/>
          </a:xfrm>
          <a:prstGeom prst="roundRect">
            <a:avLst/>
          </a:prstGeom>
          <a:solidFill>
            <a:srgbClr val="1C0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DT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5CEBF176-65CE-4C73-916E-2768F90B63DC}"/>
              </a:ext>
            </a:extLst>
          </p:cNvPr>
          <p:cNvSpPr/>
          <p:nvPr/>
        </p:nvSpPr>
        <p:spPr>
          <a:xfrm>
            <a:off x="3205906" y="4247898"/>
            <a:ext cx="628698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0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K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Rectangle: Rounded Corners 73">
            <a:extLst>
              <a:ext uri="{FF2B5EF4-FFF2-40B4-BE49-F238E27FC236}">
                <a16:creationId xmlns:a16="http://schemas.microsoft.com/office/drawing/2014/main" id="{4AFE78BE-382D-4B74-8138-8AE1856B5F69}"/>
              </a:ext>
            </a:extLst>
          </p:cNvPr>
          <p:cNvSpPr/>
          <p:nvPr/>
        </p:nvSpPr>
        <p:spPr>
          <a:xfrm>
            <a:off x="488852" y="4532814"/>
            <a:ext cx="1579550" cy="261068"/>
          </a:xfrm>
          <a:prstGeom prst="roundRect">
            <a:avLst/>
          </a:prstGeom>
          <a:solidFill>
            <a:srgbClr val="1C0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2 LST uncertainty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166F471D-D4B8-4B1D-8531-3F64B3AA2297}"/>
              </a:ext>
            </a:extLst>
          </p:cNvPr>
          <p:cNvSpPr/>
          <p:nvPr/>
        </p:nvSpPr>
        <p:spPr>
          <a:xfrm>
            <a:off x="3177854" y="4546276"/>
            <a:ext cx="684804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&lt; 2.0 K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Rectangle: Rounded Corners 73">
            <a:extLst>
              <a:ext uri="{FF2B5EF4-FFF2-40B4-BE49-F238E27FC236}">
                <a16:creationId xmlns:a16="http://schemas.microsoft.com/office/drawing/2014/main" id="{D9794DD6-2585-476C-8B51-89003C817F2B}"/>
              </a:ext>
            </a:extLst>
          </p:cNvPr>
          <p:cNvSpPr/>
          <p:nvPr/>
        </p:nvSpPr>
        <p:spPr>
          <a:xfrm>
            <a:off x="488852" y="2563542"/>
            <a:ext cx="1579550" cy="414549"/>
          </a:xfrm>
          <a:prstGeom prst="roundRect">
            <a:avLst/>
          </a:prstGeom>
          <a:solidFill>
            <a:srgbClr val="1C0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echnology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CE608172-B149-4B0C-A899-63ACB2DC24C3}"/>
              </a:ext>
            </a:extLst>
          </p:cNvPr>
          <p:cNvSpPr/>
          <p:nvPr/>
        </p:nvSpPr>
        <p:spPr>
          <a:xfrm>
            <a:off x="2235047" y="2571342"/>
            <a:ext cx="2570416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yo-coole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four-band LWIR</a:t>
            </a:r>
            <a:endParaRPr lang="en-US" sz="1200">
              <a:solidFill>
                <a:srgbClr val="1C0F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0 band MS VNI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Rectangle: Rounded Corners 73">
            <a:extLst>
              <a:ext uri="{FF2B5EF4-FFF2-40B4-BE49-F238E27FC236}">
                <a16:creationId xmlns:a16="http://schemas.microsoft.com/office/drawing/2014/main" id="{5AF533F5-B408-4EFD-A847-3E601C9ACEE3}"/>
              </a:ext>
            </a:extLst>
          </p:cNvPr>
          <p:cNvSpPr/>
          <p:nvPr/>
        </p:nvSpPr>
        <p:spPr>
          <a:xfrm>
            <a:off x="488852" y="3926524"/>
            <a:ext cx="1579550" cy="264150"/>
          </a:xfrm>
          <a:prstGeom prst="roundRect">
            <a:avLst/>
          </a:prstGeom>
          <a:solidFill>
            <a:srgbClr val="1C0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ield of regard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EAA3BA18-FA67-4C2F-B5C0-EFCD12FDD8F1}"/>
              </a:ext>
            </a:extLst>
          </p:cNvPr>
          <p:cNvSpPr/>
          <p:nvPr/>
        </p:nvSpPr>
        <p:spPr>
          <a:xfrm>
            <a:off x="2431432" y="3949520"/>
            <a:ext cx="2177647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00 km (by pointing off-nadir)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Rectangle: Rounded Corners 73">
            <a:extLst>
              <a:ext uri="{FF2B5EF4-FFF2-40B4-BE49-F238E27FC236}">
                <a16:creationId xmlns:a16="http://schemas.microsoft.com/office/drawing/2014/main" id="{FA9FF4B3-C68A-4877-83F4-B8C7946C2C7C}"/>
              </a:ext>
            </a:extLst>
          </p:cNvPr>
          <p:cNvSpPr/>
          <p:nvPr/>
        </p:nvSpPr>
        <p:spPr>
          <a:xfrm>
            <a:off x="488852" y="2260395"/>
            <a:ext cx="1579550" cy="264152"/>
          </a:xfrm>
          <a:prstGeom prst="roundRect">
            <a:avLst/>
          </a:prstGeom>
          <a:solidFill>
            <a:srgbClr val="1C0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rbit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1F5BBFF5-7AF1-4970-9375-5F3CF329017A}"/>
              </a:ext>
            </a:extLst>
          </p:cNvPr>
          <p:cNvSpPr/>
          <p:nvPr/>
        </p:nvSpPr>
        <p:spPr>
          <a:xfrm>
            <a:off x="2130029" y="2272964"/>
            <a:ext cx="2926763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SO, 510 km, LTDN 10:30 </a:t>
            </a:r>
            <a:r>
              <a:rPr kumimoji="0" lang="en-BE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M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/ 1:30PM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: Rounded Corners 73">
            <a:extLst>
              <a:ext uri="{FF2B5EF4-FFF2-40B4-BE49-F238E27FC236}">
                <a16:creationId xmlns:a16="http://schemas.microsoft.com/office/drawing/2014/main" id="{9FA4A00E-191E-08CF-9381-F93586AB4E99}"/>
              </a:ext>
            </a:extLst>
          </p:cNvPr>
          <p:cNvSpPr/>
          <p:nvPr/>
        </p:nvSpPr>
        <p:spPr>
          <a:xfrm>
            <a:off x="488852" y="3320232"/>
            <a:ext cx="1579550" cy="264151"/>
          </a:xfrm>
          <a:prstGeom prst="roundRect">
            <a:avLst/>
          </a:prstGeom>
          <a:solidFill>
            <a:srgbClr val="1C0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wath</a:t>
            </a:r>
          </a:p>
        </p:txBody>
      </p:sp>
      <p:sp>
        <p:nvSpPr>
          <p:cNvPr id="33" name="Rechteck 72">
            <a:extLst>
              <a:ext uri="{FF2B5EF4-FFF2-40B4-BE49-F238E27FC236}">
                <a16:creationId xmlns:a16="http://schemas.microsoft.com/office/drawing/2014/main" id="{7CA2DB46-EDB9-38A4-9763-FFD221BD2840}"/>
              </a:ext>
            </a:extLst>
          </p:cNvPr>
          <p:cNvSpPr/>
          <p:nvPr/>
        </p:nvSpPr>
        <p:spPr>
          <a:xfrm>
            <a:off x="2474365" y="3352764"/>
            <a:ext cx="2091791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8.5 km LWIR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C0F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/ 20km VNIR</a:t>
            </a:r>
            <a:endParaRPr kumimoji="0" lang="en-US" sz="12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9BC4358-BDEB-6002-0F40-1F554134E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852" y="344404"/>
            <a:ext cx="11606692" cy="360738"/>
          </a:xfrm>
        </p:spPr>
        <p:txBody>
          <a:bodyPr/>
          <a:lstStyle/>
          <a:p>
            <a:r>
              <a:rPr lang="de-DE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-Precision Versatile </a:t>
            </a:r>
            <a:r>
              <a:rPr lang="de-DE" b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sphere</a:t>
            </a:r>
            <a:r>
              <a:rPr lang="de-DE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nitoring Mission (</a:t>
            </a:r>
            <a:r>
              <a:rPr lang="de-DE" b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VE</a:t>
            </a:r>
            <a:r>
              <a:rPr lang="de-DE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7B70B42-3C57-3B6A-EB51-1D1244C098B4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488852" y="733634"/>
            <a:ext cx="11247877" cy="310872"/>
          </a:xfrm>
        </p:spPr>
        <p:txBody>
          <a:bodyPr/>
          <a:lstStyle/>
          <a:p>
            <a:r>
              <a: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VE consists of a constellation of Thermal Infrared </a:t>
            </a:r>
            <a:r>
              <a:rPr lang="en-B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VNIR </a:t>
            </a:r>
            <a:r>
              <a: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ellites </a:t>
            </a:r>
          </a:p>
        </p:txBody>
      </p:sp>
      <p:sp>
        <p:nvSpPr>
          <p:cNvPr id="39" name="Rectangle: Rounded Corners 73">
            <a:extLst>
              <a:ext uri="{FF2B5EF4-FFF2-40B4-BE49-F238E27FC236}">
                <a16:creationId xmlns:a16="http://schemas.microsoft.com/office/drawing/2014/main" id="{9AD05FC8-255C-11EF-DF5C-FB828ED7B363}"/>
              </a:ext>
            </a:extLst>
          </p:cNvPr>
          <p:cNvSpPr/>
          <p:nvPr/>
        </p:nvSpPr>
        <p:spPr>
          <a:xfrm>
            <a:off x="488852" y="4832875"/>
            <a:ext cx="1579550" cy="261068"/>
          </a:xfrm>
          <a:prstGeom prst="roundRect">
            <a:avLst/>
          </a:prstGeom>
          <a:solidFill>
            <a:srgbClr val="1C0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tal Mass</a:t>
            </a:r>
          </a:p>
        </p:txBody>
      </p:sp>
      <p:sp>
        <p:nvSpPr>
          <p:cNvPr id="40" name="Rechteck 79">
            <a:extLst>
              <a:ext uri="{FF2B5EF4-FFF2-40B4-BE49-F238E27FC236}">
                <a16:creationId xmlns:a16="http://schemas.microsoft.com/office/drawing/2014/main" id="{D1A98BCA-EA2F-8551-C3F9-1D1A947D091B}"/>
              </a:ext>
            </a:extLst>
          </p:cNvPr>
          <p:cNvSpPr/>
          <p:nvPr/>
        </p:nvSpPr>
        <p:spPr>
          <a:xfrm>
            <a:off x="3131367" y="4844657"/>
            <a:ext cx="777777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1C0F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 120 k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6A7CA7C-298B-41CC-8788-ACBB39D53E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454" y="5582715"/>
            <a:ext cx="3065257" cy="453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EXOLAUNCH | Careers">
            <a:extLst>
              <a:ext uri="{FF2B5EF4-FFF2-40B4-BE49-F238E27FC236}">
                <a16:creationId xmlns:a16="http://schemas.microsoft.com/office/drawing/2014/main" id="{4870BD8D-1121-68E6-BFD9-9E40BC42A2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091" b="89773" l="2977" r="97198">
                        <a14:foregroundMark x1="7531" y1="22727" x2="7531" y2="22727"/>
                        <a14:foregroundMark x1="6655" y1="50000" x2="6655" y2="50000"/>
                        <a14:foregroundMark x1="3327" y1="23864" x2="3327" y2="23864"/>
                        <a14:foregroundMark x1="5079" y1="81818" x2="5079" y2="81818"/>
                        <a14:foregroundMark x1="14711" y1="36364" x2="14711" y2="36364"/>
                        <a14:foregroundMark x1="19089" y1="26136" x2="19089" y2="26136"/>
                        <a14:foregroundMark x1="18739" y1="70455" x2="18739" y2="70455"/>
                        <a14:foregroundMark x1="23292" y1="45455" x2="23292" y2="45455"/>
                        <a14:foregroundMark x1="35552" y1="39773" x2="35552" y2="39773"/>
                        <a14:foregroundMark x1="49212" y1="32955" x2="49212" y2="32955"/>
                        <a14:foregroundMark x1="55692" y1="29545" x2="55692" y2="29545"/>
                        <a14:foregroundMark x1="83713" y1="21591" x2="83713" y2="21591"/>
                        <a14:foregroundMark x1="90543" y1="52273" x2="90543" y2="52273"/>
                        <a14:foregroundMark x1="97198" y1="50000" x2="97198" y2="50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49986" y="5583778"/>
            <a:ext cx="2321519" cy="357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68BCDD18-E9F2-CAC8-7EB6-99E6FFCA68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852" y="5483509"/>
            <a:ext cx="1497120" cy="431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Logo der Fraunhofer-Gesellschaft">
            <a:extLst>
              <a:ext uri="{FF2B5EF4-FFF2-40B4-BE49-F238E27FC236}">
                <a16:creationId xmlns:a16="http://schemas.microsoft.com/office/drawing/2014/main" id="{56648CAC-1EE8-BE2B-142E-77D59A102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2089" y="5585444"/>
            <a:ext cx="2013073" cy="348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Table 9">
            <a:extLst>
              <a:ext uri="{FF2B5EF4-FFF2-40B4-BE49-F238E27FC236}">
                <a16:creationId xmlns:a16="http://schemas.microsoft.com/office/drawing/2014/main" id="{D6D711B8-1C0C-D265-F944-B67CF39E19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5839625"/>
              </p:ext>
            </p:extLst>
          </p:nvPr>
        </p:nvGraphicFramePr>
        <p:xfrm>
          <a:off x="5784662" y="2543080"/>
          <a:ext cx="5559311" cy="220287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917352">
                  <a:extLst>
                    <a:ext uri="{9D8B030D-6E8A-4147-A177-3AD203B41FA5}">
                      <a16:colId xmlns:a16="http://schemas.microsoft.com/office/drawing/2014/main" val="450998560"/>
                    </a:ext>
                  </a:extLst>
                </a:gridCol>
                <a:gridCol w="623944">
                  <a:extLst>
                    <a:ext uri="{9D8B030D-6E8A-4147-A177-3AD203B41FA5}">
                      <a16:colId xmlns:a16="http://schemas.microsoft.com/office/drawing/2014/main" val="355200048"/>
                    </a:ext>
                  </a:extLst>
                </a:gridCol>
                <a:gridCol w="1642944">
                  <a:extLst>
                    <a:ext uri="{9D8B030D-6E8A-4147-A177-3AD203B41FA5}">
                      <a16:colId xmlns:a16="http://schemas.microsoft.com/office/drawing/2014/main" val="3637853560"/>
                    </a:ext>
                  </a:extLst>
                </a:gridCol>
                <a:gridCol w="2375071">
                  <a:extLst>
                    <a:ext uri="{9D8B030D-6E8A-4147-A177-3AD203B41FA5}">
                      <a16:colId xmlns:a16="http://schemas.microsoft.com/office/drawing/2014/main" val="2504636786"/>
                    </a:ext>
                  </a:extLst>
                </a:gridCol>
              </a:tblGrid>
              <a:tr h="538726"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>
                          <a:latin typeface="Arial"/>
                          <a:cs typeface="Arial"/>
                        </a:rPr>
                        <a:t>Instrument</a:t>
                      </a:r>
                    </a:p>
                  </a:txBody>
                  <a:tcPr anchor="ctr">
                    <a:solidFill>
                      <a:srgbClr val="1C0F4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>
                          <a:latin typeface="Arial"/>
                          <a:cs typeface="Arial"/>
                        </a:rPr>
                        <a:t># of bands </a:t>
                      </a:r>
                    </a:p>
                  </a:txBody>
                  <a:tcPr anchor="ctr">
                    <a:solidFill>
                      <a:srgbClr val="1C0F4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>
                          <a:latin typeface="Arial"/>
                          <a:cs typeface="Arial"/>
                        </a:rPr>
                        <a:t>Wavelength range (</a:t>
                      </a:r>
                      <a:r>
                        <a:rPr lang="en-US" sz="1100">
                          <a:latin typeface="Arial"/>
                          <a:cs typeface="Arial"/>
                        </a:rPr>
                        <a:t>μm</a:t>
                      </a:r>
                      <a:r>
                        <a:rPr lang="en-US" sz="1100" b="1" i="0">
                          <a:latin typeface="Arial"/>
                          <a:cs typeface="Arial"/>
                        </a:rPr>
                        <a:t>)</a:t>
                      </a:r>
                    </a:p>
                  </a:txBody>
                  <a:tcPr anchor="ctr">
                    <a:solidFill>
                      <a:srgbClr val="1C0F4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>
                          <a:latin typeface="Arial"/>
                          <a:cs typeface="Arial"/>
                        </a:rPr>
                        <a:t>Synergy to other missions</a:t>
                      </a:r>
                    </a:p>
                  </a:txBody>
                  <a:tcPr anchor="ctr">
                    <a:solidFill>
                      <a:srgbClr val="1C0F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5149501"/>
                  </a:ext>
                </a:extLst>
              </a:tr>
              <a:tr h="6362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>
                          <a:latin typeface="Arial"/>
                          <a:cs typeface="Arial"/>
                        </a:rPr>
                        <a:t>VNI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>
                          <a:latin typeface="Arial"/>
                          <a:cs typeface="Arial"/>
                        </a:rPr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>
                          <a:latin typeface="Arial"/>
                          <a:cs typeface="Arial"/>
                        </a:rPr>
                        <a:t>Multispectral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>
                          <a:latin typeface="Arial"/>
                          <a:cs typeface="Arial"/>
                        </a:rPr>
                        <a:t>0.44 – 0.9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>
                          <a:latin typeface="Arial"/>
                          <a:cs typeface="Arial"/>
                        </a:rPr>
                        <a:t>Sentinel-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12053096"/>
                  </a:ext>
                </a:extLst>
              </a:tr>
              <a:tr h="10278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BE" sz="1100">
                          <a:latin typeface="Arial"/>
                          <a:cs typeface="Arial"/>
                        </a:rPr>
                        <a:t>T</a:t>
                      </a:r>
                      <a:r>
                        <a:rPr lang="en-US" sz="1100">
                          <a:latin typeface="Arial"/>
                          <a:cs typeface="Arial"/>
                        </a:rPr>
                        <a:t>I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>
                          <a:latin typeface="Arial"/>
                          <a:cs typeface="Arial"/>
                        </a:rPr>
                        <a:t>4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>
                          <a:latin typeface="Arial"/>
                          <a:cs typeface="Arial"/>
                        </a:rPr>
                        <a:t>8.6 (c) – 0.3 FWH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>
                          <a:latin typeface="Arial"/>
                          <a:cs typeface="Arial"/>
                        </a:rPr>
                        <a:t>9.2 (c) – 0.3 FWH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>
                          <a:latin typeface="Arial"/>
                          <a:cs typeface="Arial"/>
                        </a:rPr>
                        <a:t>10.6 (c) – 0.5 FWH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>
                          <a:latin typeface="Arial"/>
                          <a:cs typeface="Arial"/>
                        </a:rPr>
                        <a:t>11.75 (c) – 0.5 FWH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>
                          <a:latin typeface="Arial"/>
                          <a:cs typeface="Arial"/>
                        </a:rPr>
                        <a:t>LSTM+TRISHNA</a:t>
                      </a:r>
                      <a:endParaRPr lang="en-US" sz="11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>
                          <a:latin typeface="Arial"/>
                          <a:cs typeface="Arial"/>
                        </a:rPr>
                        <a:t>LSTM </a:t>
                      </a:r>
                      <a:r>
                        <a:rPr lang="en-US" sz="1100">
                          <a:solidFill>
                            <a:schemeClr val="bg1">
                              <a:lumMod val="49000"/>
                            </a:schemeClr>
                          </a:solidFill>
                          <a:latin typeface="Arial"/>
                          <a:cs typeface="Arial"/>
                        </a:rPr>
                        <a:t>(</a:t>
                      </a:r>
                      <a:r>
                        <a:rPr lang="en-US" sz="1100" b="0" i="0" u="none" strike="noStrike" noProof="0">
                          <a:solidFill>
                            <a:schemeClr val="bg1">
                              <a:lumMod val="49000"/>
                            </a:schemeClr>
                          </a:solidFill>
                          <a:latin typeface="Arial"/>
                        </a:rPr>
                        <a:t>+TRISHNA slightly shifted</a:t>
                      </a:r>
                      <a:r>
                        <a:rPr lang="en-US" sz="1100">
                          <a:solidFill>
                            <a:schemeClr val="bg1">
                              <a:lumMod val="49000"/>
                            </a:schemeClr>
                          </a:solidFill>
                          <a:latin typeface="Arial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TRISHNA </a:t>
                      </a:r>
                      <a:r>
                        <a:rPr lang="en-US" sz="1100" b="0" i="0" u="none" strike="noStrike" noProof="0">
                          <a:solidFill>
                            <a:schemeClr val="bg1">
                              <a:lumMod val="49000"/>
                            </a:schemeClr>
                          </a:solidFill>
                          <a:latin typeface="Arial"/>
                        </a:rPr>
                        <a:t>(+</a:t>
                      </a:r>
                      <a:r>
                        <a:rPr lang="en-US" sz="1100">
                          <a:solidFill>
                            <a:schemeClr val="bg1">
                              <a:lumMod val="49000"/>
                            </a:schemeClr>
                          </a:solidFill>
                          <a:latin typeface="Arial"/>
                          <a:cs typeface="Arial"/>
                        </a:rPr>
                        <a:t>LSTM slightly shifted)</a:t>
                      </a:r>
                      <a:endParaRPr lang="en-US">
                        <a:solidFill>
                          <a:schemeClr val="bg1">
                            <a:lumMod val="49000"/>
                          </a:schemeClr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bg1">
                              <a:lumMod val="49000"/>
                            </a:schemeClr>
                          </a:solidFill>
                          <a:latin typeface="Arial"/>
                          <a:cs typeface="Arial"/>
                        </a:rPr>
                        <a:t>(LSTM+TRISHNA slightly shifted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23597228"/>
                  </a:ext>
                </a:extLst>
              </a:tr>
            </a:tbl>
          </a:graphicData>
        </a:graphic>
      </p:graphicFrame>
      <p:sp>
        <p:nvSpPr>
          <p:cNvPr id="7" name="Rounded Rectangle 60">
            <a:extLst>
              <a:ext uri="{FF2B5EF4-FFF2-40B4-BE49-F238E27FC236}">
                <a16:creationId xmlns:a16="http://schemas.microsoft.com/office/drawing/2014/main" id="{67BC6607-40D1-43CE-DD6D-0CC25221274B}"/>
              </a:ext>
            </a:extLst>
          </p:cNvPr>
          <p:cNvSpPr/>
          <p:nvPr/>
        </p:nvSpPr>
        <p:spPr>
          <a:xfrm>
            <a:off x="5682401" y="2109170"/>
            <a:ext cx="5821318" cy="3012486"/>
          </a:xfrm>
          <a:prstGeom prst="roundRect">
            <a:avLst>
              <a:gd name="adj" fmla="val 1992"/>
            </a:avLst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200">
              <a:solidFill>
                <a:srgbClr val="1C0F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ound Same Side Corner Rectangle 32">
            <a:extLst>
              <a:ext uri="{FF2B5EF4-FFF2-40B4-BE49-F238E27FC236}">
                <a16:creationId xmlns:a16="http://schemas.microsoft.com/office/drawing/2014/main" id="{2B8C27AE-ED15-5853-4E70-3DE33B0E50C7}"/>
              </a:ext>
            </a:extLst>
          </p:cNvPr>
          <p:cNvSpPr/>
          <p:nvPr/>
        </p:nvSpPr>
        <p:spPr>
          <a:xfrm rot="5400000">
            <a:off x="6711517" y="1008326"/>
            <a:ext cx="316009" cy="2225609"/>
          </a:xfrm>
          <a:prstGeom prst="round2SameRect">
            <a:avLst>
              <a:gd name="adj1" fmla="val 14585"/>
              <a:gd name="adj2" fmla="val 15272"/>
            </a:avLst>
          </a:prstGeom>
          <a:solidFill>
            <a:schemeClr val="tx2"/>
          </a:solidFill>
          <a:ln w="6350">
            <a:noFill/>
          </a:ln>
        </p:spPr>
        <p:txBody>
          <a:bodyPr vert="vert270" wrap="square" lIns="35998" tIns="35998" rIns="35998" bIns="35998" anchor="ctr">
            <a:spAutoFit/>
          </a:bodyPr>
          <a:lstStyle/>
          <a:p>
            <a:pPr marL="0" marR="0" lvl="0" indent="0" algn="ctr" defTabSz="914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nd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90C6E7-BD54-3C1F-E05E-660EB4B6F7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330242" y="833422"/>
            <a:ext cx="2839433" cy="2089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692D318B-93BC-CF68-5BD4-7EF7B5BE97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61100" y="6186320"/>
            <a:ext cx="1592017" cy="580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>
            <a:extLst>
              <a:ext uri="{FF2B5EF4-FFF2-40B4-BE49-F238E27FC236}">
                <a16:creationId xmlns:a16="http://schemas.microsoft.com/office/drawing/2014/main" id="{2A1FF97C-3647-BAB6-C4E3-DADAD72CE4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53671" y="6101536"/>
            <a:ext cx="1727100" cy="580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47A1B51-3083-4F4A-B5CA-CDB08F4B110E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/>
              <a:t>christophe.lerot@constellr.com</a:t>
            </a:r>
          </a:p>
        </p:txBody>
      </p:sp>
    </p:spTree>
    <p:extLst>
      <p:ext uri="{BB962C8B-B14F-4D97-AF65-F5344CB8AC3E}">
        <p14:creationId xmlns:p14="http://schemas.microsoft.com/office/powerpoint/2010/main" val="943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D34FEF6-F820-90A6-CD69-7B1A1AA29A3F}"/>
              </a:ext>
            </a:extLst>
          </p:cNvPr>
          <p:cNvSpPr/>
          <p:nvPr/>
        </p:nvSpPr>
        <p:spPr>
          <a:xfrm>
            <a:off x="235527" y="5767754"/>
            <a:ext cx="453790" cy="3698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F5CB0FA-1666-D088-BE07-77B8DF8A0F0E}"/>
              </a:ext>
            </a:extLst>
          </p:cNvPr>
          <p:cNvGrpSpPr/>
          <p:nvPr/>
        </p:nvGrpSpPr>
        <p:grpSpPr>
          <a:xfrm>
            <a:off x="689317" y="1043796"/>
            <a:ext cx="10895812" cy="5444397"/>
            <a:chOff x="235527" y="780819"/>
            <a:chExt cx="11720946" cy="577638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CB1C3BA-CF65-3C2E-14BE-CF34CD95F0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35528" y="780819"/>
              <a:ext cx="11720945" cy="5733256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45EC325-3E8A-65EC-3D41-C23F43639D5E}"/>
                </a:ext>
              </a:extLst>
            </p:cNvPr>
            <p:cNvSpPr/>
            <p:nvPr/>
          </p:nvSpPr>
          <p:spPr>
            <a:xfrm>
              <a:off x="235527" y="6038486"/>
              <a:ext cx="558103" cy="518719"/>
            </a:xfrm>
            <a:prstGeom prst="rect">
              <a:avLst/>
            </a:prstGeom>
            <a:solidFill>
              <a:srgbClr val="F3F3F5"/>
            </a:solidFill>
          </p:spPr>
          <p:txBody>
            <a:bodyPr vert="horz" lIns="72000" tIns="72000" rIns="72000" bIns="7200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en-BE" sz="1800">
                <a:ln>
                  <a:solidFill>
                    <a:srgbClr val="000000"/>
                  </a:solidFill>
                </a:ln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Title 3">
            <a:extLst>
              <a:ext uri="{FF2B5EF4-FFF2-40B4-BE49-F238E27FC236}">
                <a16:creationId xmlns:a16="http://schemas.microsoft.com/office/drawing/2014/main" id="{F45B6EC8-72BD-2C8B-0278-5B0EDE670E66}"/>
              </a:ext>
            </a:extLst>
          </p:cNvPr>
          <p:cNvSpPr txBox="1">
            <a:spLocks/>
          </p:cNvSpPr>
          <p:nvPr/>
        </p:nvSpPr>
        <p:spPr>
          <a:xfrm>
            <a:off x="549544" y="261422"/>
            <a:ext cx="11541789" cy="3607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Eina04-SemiBold" panose="02000000000000000000" pitchFamily="50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z="2600" b="1">
                <a:solidFill>
                  <a:srgbClr val="160A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HiVE processing pipeline</a:t>
            </a:r>
          </a:p>
        </p:txBody>
      </p:sp>
    </p:spTree>
    <p:extLst>
      <p:ext uri="{BB962C8B-B14F-4D97-AF65-F5344CB8AC3E}">
        <p14:creationId xmlns:p14="http://schemas.microsoft.com/office/powerpoint/2010/main" val="1545877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0DF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7B7C7213-AE53-4BCD-23C3-7387F2E2D0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94"/>
          <a:stretch/>
        </p:blipFill>
        <p:spPr bwMode="auto">
          <a:xfrm>
            <a:off x="0" y="651161"/>
            <a:ext cx="12192000" cy="3473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0E10EE77-2BDA-386B-6943-40AEE891C225}"/>
              </a:ext>
            </a:extLst>
          </p:cNvPr>
          <p:cNvSpPr/>
          <p:nvPr/>
        </p:nvSpPr>
        <p:spPr>
          <a:xfrm>
            <a:off x="2061882" y="1840210"/>
            <a:ext cx="1201271" cy="38021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600" b="1">
              <a:solidFill>
                <a:srgbClr val="1C0F46"/>
              </a:solidFill>
              <a:latin typeface="Eina 04 Bold" panose="02000000000000000000" pitchFamily="2" charset="77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775B6DC-0650-8A94-4ECE-0520DBAA9084}"/>
              </a:ext>
            </a:extLst>
          </p:cNvPr>
          <p:cNvSpPr txBox="1"/>
          <p:nvPr/>
        </p:nvSpPr>
        <p:spPr>
          <a:xfrm>
            <a:off x="2061882" y="1770881"/>
            <a:ext cx="1237128" cy="523220"/>
          </a:xfrm>
          <a:prstGeom prst="rect">
            <a:avLst/>
          </a:prstGeom>
          <a:solidFill>
            <a:srgbClr val="E0DFE4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/>
              <a:t>Launch Q1/2025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E2B6E84-E03E-F96E-997E-2F342AD7CEC6}"/>
              </a:ext>
            </a:extLst>
          </p:cNvPr>
          <p:cNvSpPr txBox="1"/>
          <p:nvPr/>
        </p:nvSpPr>
        <p:spPr>
          <a:xfrm>
            <a:off x="76345" y="3966379"/>
            <a:ext cx="18556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/>
              <a:t>Q1/Q2-2024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B9699F0-2CFA-32F1-C64E-EB4BCB9F0C05}"/>
              </a:ext>
            </a:extLst>
          </p:cNvPr>
          <p:cNvSpPr txBox="1"/>
          <p:nvPr/>
        </p:nvSpPr>
        <p:spPr>
          <a:xfrm>
            <a:off x="2895600" y="3966379"/>
            <a:ext cx="35744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/>
              <a:t>Q1/2025 – Q2/2025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CC98EAC-0FC1-B5C9-4E66-687B099DF73D}"/>
              </a:ext>
            </a:extLst>
          </p:cNvPr>
          <p:cNvSpPr txBox="1"/>
          <p:nvPr/>
        </p:nvSpPr>
        <p:spPr>
          <a:xfrm>
            <a:off x="7022390" y="3966379"/>
            <a:ext cx="14074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/>
              <a:t>Q2/2025+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99A7DD1-2C85-0D99-965F-FA4C1437D2BB}"/>
              </a:ext>
            </a:extLst>
          </p:cNvPr>
          <p:cNvSpPr txBox="1"/>
          <p:nvPr/>
        </p:nvSpPr>
        <p:spPr>
          <a:xfrm>
            <a:off x="10356972" y="3966379"/>
            <a:ext cx="14074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/>
              <a:t>Q2/2025+</a:t>
            </a: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86588606-97D1-FE0C-C0A0-B030178FED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6082" y="4695208"/>
            <a:ext cx="1960789" cy="1622248"/>
          </a:xfrm>
          <a:prstGeom prst="rect">
            <a:avLst/>
          </a:prstGeom>
        </p:spPr>
      </p:pic>
      <p:pic>
        <p:nvPicPr>
          <p:cNvPr id="18" name="Picture 4" descr="RadCalNet protocols and lessons learnt from an operational global network">
            <a:extLst>
              <a:ext uri="{FF2B5EF4-FFF2-40B4-BE49-F238E27FC236}">
                <a16:creationId xmlns:a16="http://schemas.microsoft.com/office/drawing/2014/main" id="{82E4FBB8-6B9E-776B-22F2-C2392B1172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4832" y="4660167"/>
            <a:ext cx="1796007" cy="1614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>
            <a:extLst>
              <a:ext uri="{FF2B5EF4-FFF2-40B4-BE49-F238E27FC236}">
                <a16:creationId xmlns:a16="http://schemas.microsoft.com/office/drawing/2014/main" id="{61F9EE65-F0E6-BC9F-6C8F-F5C6547F42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12010" y="4370717"/>
            <a:ext cx="927430" cy="648982"/>
          </a:xfrm>
          <a:prstGeom prst="rect">
            <a:avLst/>
          </a:prstGeom>
        </p:spPr>
      </p:pic>
      <p:pic>
        <p:nvPicPr>
          <p:cNvPr id="20" name="Picture 2" descr="LAND SITE - Gobabeb">
            <a:extLst>
              <a:ext uri="{FF2B5EF4-FFF2-40B4-BE49-F238E27FC236}">
                <a16:creationId xmlns:a16="http://schemas.microsoft.com/office/drawing/2014/main" id="{E5608889-0BEA-2543-0940-8CA2FD7B4E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2517" y="4214405"/>
            <a:ext cx="927429" cy="2059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ound Same Side Corner Rectangle 36">
            <a:extLst>
              <a:ext uri="{FF2B5EF4-FFF2-40B4-BE49-F238E27FC236}">
                <a16:creationId xmlns:a16="http://schemas.microsoft.com/office/drawing/2014/main" id="{93CF181F-1B3D-7D44-6111-5FC3CCE6066A}"/>
              </a:ext>
            </a:extLst>
          </p:cNvPr>
          <p:cNvSpPr/>
          <p:nvPr/>
        </p:nvSpPr>
        <p:spPr>
          <a:xfrm rot="5400000">
            <a:off x="9119641" y="3984979"/>
            <a:ext cx="630733" cy="2695836"/>
          </a:xfrm>
          <a:prstGeom prst="round2SameRect">
            <a:avLst>
              <a:gd name="adj1" fmla="val 18326"/>
              <a:gd name="adj2" fmla="val 11043"/>
            </a:avLst>
          </a:prstGeom>
          <a:solidFill>
            <a:srgbClr val="1C0F46"/>
          </a:solidFill>
          <a:ln w="6350">
            <a:solidFill>
              <a:srgbClr val="1C0F46"/>
            </a:solidFill>
          </a:ln>
        </p:spPr>
        <p:txBody>
          <a:bodyPr vert="vert270" wrap="square" lIns="36000" tIns="36000" rIns="36000" bIns="3600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VE</a:t>
            </a:r>
            <a:r>
              <a:rPr lang="de-DE" sz="16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  <a:r>
              <a:rPr lang="de-DE" sz="16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ed</a:t>
            </a:r>
            <a:r>
              <a:rPr lang="de-DE" sz="16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  <a:endParaRPr kumimoji="0" lang="en-VN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9C1202C3-3F76-72D7-1FC8-2DE41CDBE4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48294" y="4999240"/>
            <a:ext cx="1449797" cy="1298047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703223D-57B3-731E-90F3-55EB6EFA8706}"/>
              </a:ext>
            </a:extLst>
          </p:cNvPr>
          <p:cNvSpPr txBox="1">
            <a:spLocks/>
          </p:cNvSpPr>
          <p:nvPr/>
        </p:nvSpPr>
        <p:spPr>
          <a:xfrm>
            <a:off x="409748" y="115913"/>
            <a:ext cx="11303496" cy="408000"/>
          </a:xfrm>
        </p:spPr>
        <p:txBody>
          <a:bodyPr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bg1"/>
                </a:solidFill>
                <a:latin typeface="Eina 04 Regular" panose="02000000000000000000" pitchFamily="50" charset="0"/>
                <a:ea typeface="Eina 04 Regular" panose="02000000000000000000" pitchFamily="50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Eina 04 Regular" panose="02000000000000000000" pitchFamily="50" charset="0"/>
                <a:cs typeface="Arial"/>
                <a:sym typeface="Arial"/>
              </a:rPr>
              <a:t>How to measure with precision? Cal/Val strategy</a:t>
            </a:r>
          </a:p>
        </p:txBody>
      </p:sp>
    </p:spTree>
    <p:extLst>
      <p:ext uri="{BB962C8B-B14F-4D97-AF65-F5344CB8AC3E}">
        <p14:creationId xmlns:p14="http://schemas.microsoft.com/office/powerpoint/2010/main" val="37543211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ID" val="166"/>
  <p:tag name="SHID" val="364"/>
</p:tagLst>
</file>

<file path=ppt/theme/theme1.xml><?xml version="1.0" encoding="utf-8"?>
<a:theme xmlns:a="http://schemas.openxmlformats.org/drawingml/2006/main" name="constellr theme">
  <a:themeElements>
    <a:clrScheme name="CONSTELLR">
      <a:dk1>
        <a:srgbClr val="000000"/>
      </a:dk1>
      <a:lt1>
        <a:srgbClr val="FFFFFF"/>
      </a:lt1>
      <a:dk2>
        <a:srgbClr val="1C0F46"/>
      </a:dk2>
      <a:lt2>
        <a:srgbClr val="F2F2F3"/>
      </a:lt2>
      <a:accent1>
        <a:srgbClr val="2A71E2"/>
      </a:accent1>
      <a:accent2>
        <a:srgbClr val="39CEED"/>
      </a:accent2>
      <a:accent3>
        <a:srgbClr val="DADADB"/>
      </a:accent3>
      <a:accent4>
        <a:srgbClr val="244277"/>
      </a:accent4>
      <a:accent5>
        <a:srgbClr val="515151"/>
      </a:accent5>
      <a:accent6>
        <a:srgbClr val="919191"/>
      </a:accent6>
      <a:hlink>
        <a:srgbClr val="2A70E1"/>
      </a:hlink>
      <a:folHlink>
        <a:srgbClr val="2A70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3F3F5"/>
        </a:solidFill>
      </a:spPr>
      <a:bodyPr vert="horz" lIns="72000" tIns="72000" rIns="72000" bIns="72000" rtlCol="0" anchor="ctr">
        <a:noAutofit/>
      </a:bodyPr>
      <a:lstStyle>
        <a:defPPr algn="ctr">
          <a:lnSpc>
            <a:spcPct val="90000"/>
          </a:lnSpc>
          <a:spcBef>
            <a:spcPts val="750"/>
          </a:spcBef>
          <a:defRPr sz="1800" dirty="0">
            <a:ln>
              <a:solidFill>
                <a:srgbClr val="000000"/>
              </a:solidFill>
            </a:ln>
            <a:solidFill>
              <a:srgbClr val="160A4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>
        <a:ln w="9525">
          <a:solidFill>
            <a:srgbClr val="160A42"/>
          </a:solidFill>
          <a:prstDash val="solid"/>
          <a:headEnd type="none" w="med" len="me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algn="l">
          <a:defRPr b="0" i="0" dirty="0" smtClean="0">
            <a:solidFill>
              <a:srgbClr val="160A4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AE8F6BB8-B894-4189-B068-D3DD95FEC243}" vid="{08C007F2-2D2A-4E58-94ED-599CFE2076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ONSTELLR">
    <a:dk1>
      <a:srgbClr val="000000"/>
    </a:dk1>
    <a:lt1>
      <a:srgbClr val="FFFFFF"/>
    </a:lt1>
    <a:dk2>
      <a:srgbClr val="1C0F46"/>
    </a:dk2>
    <a:lt2>
      <a:srgbClr val="F2F2F3"/>
    </a:lt2>
    <a:accent1>
      <a:srgbClr val="2A71E2"/>
    </a:accent1>
    <a:accent2>
      <a:srgbClr val="39CEED"/>
    </a:accent2>
    <a:accent3>
      <a:srgbClr val="DADADB"/>
    </a:accent3>
    <a:accent4>
      <a:srgbClr val="244277"/>
    </a:accent4>
    <a:accent5>
      <a:srgbClr val="515151"/>
    </a:accent5>
    <a:accent6>
      <a:srgbClr val="919191"/>
    </a:accent6>
    <a:hlink>
      <a:srgbClr val="2A70E1"/>
    </a:hlink>
    <a:folHlink>
      <a:srgbClr val="2A70E1"/>
    </a:folHlink>
  </a:clrScheme>
</a:themeOverride>
</file>

<file path=ppt/theme/themeOverride2.xml><?xml version="1.0" encoding="utf-8"?>
<a:themeOverride xmlns:a="http://schemas.openxmlformats.org/drawingml/2006/main">
  <a:clrScheme name="CONSTELLR">
    <a:dk1>
      <a:srgbClr val="000000"/>
    </a:dk1>
    <a:lt1>
      <a:srgbClr val="FFFFFF"/>
    </a:lt1>
    <a:dk2>
      <a:srgbClr val="1C0F46"/>
    </a:dk2>
    <a:lt2>
      <a:srgbClr val="F2F2F3"/>
    </a:lt2>
    <a:accent1>
      <a:srgbClr val="2A71E2"/>
    </a:accent1>
    <a:accent2>
      <a:srgbClr val="39CEED"/>
    </a:accent2>
    <a:accent3>
      <a:srgbClr val="DADADB"/>
    </a:accent3>
    <a:accent4>
      <a:srgbClr val="244277"/>
    </a:accent4>
    <a:accent5>
      <a:srgbClr val="515151"/>
    </a:accent5>
    <a:accent6>
      <a:srgbClr val="919191"/>
    </a:accent6>
    <a:hlink>
      <a:srgbClr val="2A70E1"/>
    </a:hlink>
    <a:folHlink>
      <a:srgbClr val="2A70E1"/>
    </a:folHlink>
  </a:clrScheme>
</a:themeOverride>
</file>

<file path=ppt/theme/themeOverride3.xml><?xml version="1.0" encoding="utf-8"?>
<a:themeOverride xmlns:a="http://schemas.openxmlformats.org/drawingml/2006/main">
  <a:clrScheme name="CONSTELLR">
    <a:dk1>
      <a:srgbClr val="000000"/>
    </a:dk1>
    <a:lt1>
      <a:srgbClr val="FFFFFF"/>
    </a:lt1>
    <a:dk2>
      <a:srgbClr val="1C0F46"/>
    </a:dk2>
    <a:lt2>
      <a:srgbClr val="F2F2F3"/>
    </a:lt2>
    <a:accent1>
      <a:srgbClr val="2A71E2"/>
    </a:accent1>
    <a:accent2>
      <a:srgbClr val="39CEED"/>
    </a:accent2>
    <a:accent3>
      <a:srgbClr val="DADADB"/>
    </a:accent3>
    <a:accent4>
      <a:srgbClr val="244277"/>
    </a:accent4>
    <a:accent5>
      <a:srgbClr val="515151"/>
    </a:accent5>
    <a:accent6>
      <a:srgbClr val="919191"/>
    </a:accent6>
    <a:hlink>
      <a:srgbClr val="2A70E1"/>
    </a:hlink>
    <a:folHlink>
      <a:srgbClr val="2A70E1"/>
    </a:folHlink>
  </a:clrScheme>
</a:themeOverride>
</file>

<file path=ppt/theme/themeOverride4.xml><?xml version="1.0" encoding="utf-8"?>
<a:themeOverride xmlns:a="http://schemas.openxmlformats.org/drawingml/2006/main">
  <a:clrScheme name="CONSTELLR">
    <a:dk1>
      <a:srgbClr val="000000"/>
    </a:dk1>
    <a:lt1>
      <a:srgbClr val="FFFFFF"/>
    </a:lt1>
    <a:dk2>
      <a:srgbClr val="1C0F46"/>
    </a:dk2>
    <a:lt2>
      <a:srgbClr val="F2F2F3"/>
    </a:lt2>
    <a:accent1>
      <a:srgbClr val="2A71E2"/>
    </a:accent1>
    <a:accent2>
      <a:srgbClr val="39CEED"/>
    </a:accent2>
    <a:accent3>
      <a:srgbClr val="DADADB"/>
    </a:accent3>
    <a:accent4>
      <a:srgbClr val="244277"/>
    </a:accent4>
    <a:accent5>
      <a:srgbClr val="515151"/>
    </a:accent5>
    <a:accent6>
      <a:srgbClr val="919191"/>
    </a:accent6>
    <a:hlink>
      <a:srgbClr val="2A70E1"/>
    </a:hlink>
    <a:folHlink>
      <a:srgbClr val="2A70E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3AAD4BF79C4784FABEC2EC217705A40" ma:contentTypeVersion="17" ma:contentTypeDescription="Ein neues Dokument erstellen." ma:contentTypeScope="" ma:versionID="ad5b40c526a6f3c5c0eff4f99ebaf7b1">
  <xsd:schema xmlns:xsd="http://www.w3.org/2001/XMLSchema" xmlns:xs="http://www.w3.org/2001/XMLSchema" xmlns:p="http://schemas.microsoft.com/office/2006/metadata/properties" xmlns:ns2="3300939a-8081-4394-857a-68f174e05148" xmlns:ns3="768619b3-06b8-403f-b96b-55842bc5569e" targetNamespace="http://schemas.microsoft.com/office/2006/metadata/properties" ma:root="true" ma:fieldsID="0d9aac0b1e72c59146ecad57153b2c1c" ns2:_="" ns3:_="">
    <xsd:import namespace="3300939a-8081-4394-857a-68f174e05148"/>
    <xsd:import namespace="768619b3-06b8-403f-b96b-55842bc556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bjectDetectorVersions" minOccurs="0"/>
                <xsd:element ref="ns3:_dlc_DocId" minOccurs="0"/>
                <xsd:element ref="ns3:_dlc_DocIdUrl" minOccurs="0"/>
                <xsd:element ref="ns3:_dlc_DocIdPersistId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00939a-8081-4394-857a-68f174e051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baa15eb5-89d8-4dc5-89e6-a2370539bf7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619b3-06b8-403f-b96b-55842bc5569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fc22440-1369-4a6e-b4ee-93d4bd78002d}" ma:internalName="TaxCatchAll" ma:showField="CatchAllData" ma:web="768619b3-06b8-403f-b96b-55842bc556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24" nillable="true" ma:displayName="Wert der Dokument-ID" ma:description="Der Wert der diesem Element zugewiesenen Dokument-ID." ma:indexed="true" ma:internalName="_dlc_DocId" ma:readOnly="true">
      <xsd:simpleType>
        <xsd:restriction base="dms:Text"/>
      </xsd:simpleType>
    </xsd:element>
    <xsd:element name="_dlc_DocIdUrl" ma:index="25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6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300939a-8081-4394-857a-68f174e05148">
      <Terms xmlns="http://schemas.microsoft.com/office/infopath/2007/PartnerControls"/>
    </lcf76f155ced4ddcb4097134ff3c332f>
    <TaxCatchAll xmlns="768619b3-06b8-403f-b96b-55842bc5569e" xsi:nil="true"/>
    <SharedWithUsers xmlns="768619b3-06b8-403f-b96b-55842bc5569e">
      <UserInfo>
        <DisplayName>Sam Whalley</DisplayName>
        <AccountId>12</AccountId>
        <AccountType/>
      </UserInfo>
      <UserInfo>
        <DisplayName>Yan De Paoli</DisplayName>
        <AccountId>305</AccountId>
        <AccountType/>
      </UserInfo>
      <UserInfo>
        <DisplayName>Tobias Menne</DisplayName>
        <AccountId>60</AccountId>
        <AccountType/>
      </UserInfo>
      <UserInfo>
        <DisplayName>Adam Borowicz</DisplayName>
        <AccountId>301</AccountId>
        <AccountType/>
      </UserInfo>
      <UserInfo>
        <DisplayName>Matthieu Taymans</DisplayName>
        <AccountId>26</AccountId>
        <AccountType/>
      </UserInfo>
      <UserInfo>
        <DisplayName>Nicolas Chamberland</DisplayName>
        <AccountId>135</AccountId>
        <AccountType/>
      </UserInfo>
    </SharedWithUsers>
    <MediaLengthInSeconds xmlns="3300939a-8081-4394-857a-68f174e05148" xsi:nil="true"/>
    <_dlc_DocId xmlns="768619b3-06b8-403f-b96b-55842bc5569e">HIVE-81041251-130372</_dlc_DocId>
    <_dlc_DocIdUrl xmlns="768619b3-06b8-403f-b96b-55842bc5569e">
      <Url>https://constellr.sharepoint.com/sites/ConstellRHiVE-INTERNAL/_layouts/15/DocIdRedir.aspx?ID=HIVE-81041251-130372</Url>
      <Description>HIVE-81041251-130372</Description>
    </_dlc_DocIdUrl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74C43959-AE32-46BA-B424-BF17BD533B74}"/>
</file>

<file path=customXml/itemProps2.xml><?xml version="1.0" encoding="utf-8"?>
<ds:datastoreItem xmlns:ds="http://schemas.openxmlformats.org/officeDocument/2006/customXml" ds:itemID="{2D59C688-F06F-468B-B175-62C021BE6AB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2E18AD-0BB8-4B90-BA81-A765310755ED}">
  <ds:schemaRefs>
    <ds:schemaRef ds:uri="3300939a-8081-4394-857a-68f174e05148"/>
    <ds:schemaRef ds:uri="768619b3-06b8-403f-b96b-55842bc5569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A82B6AE4-27BD-4836-9D80-EF6D1740AAF0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18</Slides>
  <Notes>12</Notes>
  <HiddenSlides>2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constellr theme</vt:lpstr>
      <vt:lpstr>Office Theme</vt:lpstr>
      <vt:lpstr>PowerPoint Presentation</vt:lpstr>
      <vt:lpstr>Outline</vt:lpstr>
      <vt:lpstr>About constellr</vt:lpstr>
      <vt:lpstr>PowerPoint Presentation</vt:lpstr>
      <vt:lpstr>Sectors we address</vt:lpstr>
      <vt:lpstr>PowerPoint Presentation</vt:lpstr>
      <vt:lpstr>High-Precision Versatile Ecosphere Monitoring Mission (HiVE)</vt:lpstr>
      <vt:lpstr>PowerPoint Presentation</vt:lpstr>
      <vt:lpstr>PowerPoint Presentation</vt:lpstr>
      <vt:lpstr>TIR Radiometric Calibration </vt:lpstr>
      <vt:lpstr>constellr LST algorithm performance</vt:lpstr>
      <vt:lpstr>Other sectors</vt:lpstr>
      <vt:lpstr>Product portfolio for 2025 offers possibilities for customers to explore temperature data in ways never seen before</vt:lpstr>
      <vt:lpstr>PowerPoint Presentation</vt:lpstr>
      <vt:lpstr>PowerPoint Presentation</vt:lpstr>
      <vt:lpstr>PowerPoint Presentation</vt:lpstr>
      <vt:lpstr>Early detection of vegetative stress using our thermal imagery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master.</dc:title>
  <dc:subject/>
  <dc:creator>Max Gulde</dc:creator>
  <cp:keywords/>
  <dc:description/>
  <cp:revision>1</cp:revision>
  <dcterms:created xsi:type="dcterms:W3CDTF">2023-05-22T12:43:01Z</dcterms:created>
  <dcterms:modified xsi:type="dcterms:W3CDTF">2024-12-03T09:17:5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Order">
    <vt:r8>21800</vt:r8>
  </property>
  <property fmtid="{D5CDD505-2E9C-101B-9397-08002B2CF9AE}" pid="4" name="TriggerFlowInfo">
    <vt:lpwstr/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_dlc_DocIdItemGuid">
    <vt:lpwstr>03546f0d-0055-4b15-85f9-f5695078424e</vt:lpwstr>
  </property>
  <property fmtid="{D5CDD505-2E9C-101B-9397-08002B2CF9AE}" pid="8" name="ContentTypeId">
    <vt:lpwstr>0x01010013AAD4BF79C4784FABEC2EC217705A40</vt:lpwstr>
  </property>
</Properties>
</file>